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77" r:id="rId6"/>
    <p:sldMasterId id="2147483694" r:id="rId7"/>
  </p:sldMasterIdLst>
  <p:notesMasterIdLst>
    <p:notesMasterId r:id="rId20"/>
  </p:notesMasterIdLst>
  <p:sldIdLst>
    <p:sldId id="256" r:id="rId8"/>
    <p:sldId id="2147375561" r:id="rId9"/>
    <p:sldId id="2147375565" r:id="rId10"/>
    <p:sldId id="2147375566" r:id="rId11"/>
    <p:sldId id="2147375567" r:id="rId12"/>
    <p:sldId id="2147375568" r:id="rId13"/>
    <p:sldId id="2147375570" r:id="rId14"/>
    <p:sldId id="2147375575" r:id="rId15"/>
    <p:sldId id="2147375579" r:id="rId16"/>
    <p:sldId id="2147375576" r:id="rId17"/>
    <p:sldId id="2147375571" r:id="rId18"/>
    <p:sldId id="2147375578" r:id="rId1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F7CE605-4678-4F32-AD4C-2B8850E60555}" v="27" dt="2025-05-06T06:24:27.80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6327"/>
  </p:normalViewPr>
  <p:slideViewPr>
    <p:cSldViewPr snapToGrid="0">
      <p:cViewPr varScale="1">
        <p:scale>
          <a:sx n="153" d="100"/>
          <a:sy n="153" d="100"/>
        </p:scale>
        <p:origin x="468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DE16F5-3D51-7042-B475-7772C0973C13}" type="datetimeFigureOut">
              <a:rPr lang="de-DE" smtClean="0"/>
              <a:t>18.09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65D6C9-934B-904E-9232-083035CBD33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711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DE74BF-A3BF-47E9-8C43-44D9F230D8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DB0C643-2300-429C-8247-428497D317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58D5F27-0089-420D-9580-1F20279C9A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A08BC-E657-4814-B08A-5C6570A6729B}" type="datetimeFigureOut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A467462-C17F-44D2-86CC-5B20257A7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416AD1-99AF-4021-A2F2-451991BFF1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C4755C-D49C-4E8E-BF76-9D21D2BB75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51873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5968F6-7247-4249-A275-ED9B82036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8FDF43C-E9C1-459E-A1F4-2EC87BE078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FC3CE4C-6212-4F13-B52E-5A72259EFF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A08BC-E657-4814-B08A-5C6570A6729B}" type="datetimeFigureOut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F81668-B439-4208-8ED9-65192FE531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CCFD38E-EE40-4878-A84C-F56BAD9753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C4755C-D49C-4E8E-BF76-9D21D2BB75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25352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A6837380-1FED-4F67-B70F-5AE2C5A3A08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8CCA6A8-C0C3-431A-A9D4-D0E9DDE596F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72D899E-6607-462E-99AA-B1C4F21489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A08BC-E657-4814-B08A-5C6570A6729B}" type="datetimeFigureOut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12E120C-AAB5-40FD-A5BE-9C1CC26BE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F73551-A138-4C8B-865F-D737F44500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C4755C-D49C-4E8E-BF76-9D21D2BB75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58131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1064303" y="381374"/>
            <a:ext cx="734518" cy="228594"/>
          </a:xfrm>
        </p:spPr>
        <p:txBody>
          <a:bodyPr/>
          <a:lstStyle/>
          <a:p>
            <a:fld id="{41DBE399-ED5B-E745-9505-6F2D24AE4574}" type="datetime1">
              <a:rPr lang="de-DE" smtClean="0"/>
              <a:t>18.09.202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1977218" y="381374"/>
            <a:ext cx="8837608" cy="228594"/>
          </a:xfrm>
        </p:spPr>
        <p:txBody>
          <a:bodyPr/>
          <a:lstStyle/>
          <a:p>
            <a:r>
              <a:rPr lang="de-DE" err="1"/>
              <a:t>adesso</a:t>
            </a:r>
            <a:r>
              <a:rPr lang="de-DE"/>
              <a:t> S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584865" y="381374"/>
            <a:ext cx="304745" cy="228594"/>
          </a:xfrm>
        </p:spPr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5A561CC-329E-2A43-AE70-ACEB010A19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4865" y="871538"/>
            <a:ext cx="1392353" cy="5986462"/>
          </a:xfr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81654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elcom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BE399-ED5B-E745-9505-6F2D24AE4574}" type="datetime1">
              <a:rPr lang="de-DE" smtClean="0"/>
              <a:t>18.09.202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EE0C4B3-9CDA-5E40-B53A-738AE0F220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188" y="3062966"/>
            <a:ext cx="9412269" cy="732069"/>
          </a:xfrm>
        </p:spPr>
        <p:txBody>
          <a:bodyPr anchor="ctr"/>
          <a:lstStyle>
            <a:lvl1pPr algn="ctr">
              <a:defRPr sz="4800" b="1" i="0" spc="60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de-DE" err="1"/>
              <a:t>Your</a:t>
            </a:r>
            <a:r>
              <a:rPr lang="de-DE"/>
              <a:t> Titl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424B196-9260-8D4D-8955-036CC9541E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1376" y="4202985"/>
            <a:ext cx="9432081" cy="420773"/>
          </a:xfrm>
        </p:spPr>
        <p:txBody>
          <a:bodyPr/>
          <a:lstStyle>
            <a:lvl1pPr algn="ctr">
              <a:defRPr b="0" spc="30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1pPr>
            <a:lvl2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2pPr>
            <a:lvl3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3pPr>
            <a:lvl4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4pPr>
            <a:lvl5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5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5A561CC-329E-2A43-AE70-ACEB010A19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490" y="1017917"/>
            <a:ext cx="10208961" cy="5458709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68291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elcom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5A561CC-329E-2A43-AE70-ACEB010A19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490" y="929340"/>
            <a:ext cx="10208961" cy="5458709"/>
          </a:xfrm>
        </p:spPr>
        <p:txBody>
          <a:bodyPr/>
          <a:lstStyle/>
          <a:p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BE399-ED5B-E745-9505-6F2D24AE4574}" type="datetime1">
              <a:rPr lang="de-DE" smtClean="0"/>
              <a:t>18.09.202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EE0C4B3-9CDA-5E40-B53A-738AE0F220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1151" y="3304728"/>
            <a:ext cx="2340000" cy="353967"/>
          </a:xfrm>
        </p:spPr>
        <p:txBody>
          <a:bodyPr anchor="ctr"/>
          <a:lstStyle>
            <a:lvl1pPr algn="l">
              <a:defRPr sz="2000" b="1" i="0" spc="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de-DE" err="1"/>
              <a:t>Your</a:t>
            </a:r>
            <a:r>
              <a:rPr lang="de-DE"/>
              <a:t> Titl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424B196-9260-8D4D-8955-036CC9541E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1151" y="4217511"/>
            <a:ext cx="2340000" cy="1800000"/>
          </a:xfrm>
        </p:spPr>
        <p:txBody>
          <a:bodyPr>
            <a:normAutofit/>
          </a:bodyPr>
          <a:lstStyle>
            <a:lvl1pPr algn="l">
              <a:defRPr sz="1600" b="0" spc="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1pPr>
            <a:lvl2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2pPr>
            <a:lvl3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3pPr>
            <a:lvl4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4pPr>
            <a:lvl5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5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8DF13D35-AF1B-DE4E-9B66-D4C5A15229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0752" y="4167660"/>
            <a:ext cx="2340000" cy="1800000"/>
          </a:xfrm>
        </p:spPr>
        <p:txBody>
          <a:bodyPr>
            <a:normAutofit/>
          </a:bodyPr>
          <a:lstStyle>
            <a:lvl1pPr algn="r">
              <a:defRPr sz="1600" b="0" spc="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1pPr>
            <a:lvl2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2pPr>
            <a:lvl3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3pPr>
            <a:lvl4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4pPr>
            <a:lvl5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5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DA67DBC-A04D-6147-BA8A-BC13628866A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1151" y="1305912"/>
            <a:ext cx="1440000" cy="1440000"/>
          </a:xfrm>
        </p:spPr>
        <p:txBody>
          <a:bodyPr/>
          <a:lstStyle/>
          <a:p>
            <a:endParaRPr lang="de-DE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64D8135F-52FB-3646-B323-8C5121C634B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020752" y="1307616"/>
            <a:ext cx="1440000" cy="1440000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003D9AD-F695-9B47-BD10-7AF5ED90A00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55439" y="2642740"/>
            <a:ext cx="3121025" cy="661988"/>
          </a:xfrm>
        </p:spPr>
        <p:txBody>
          <a:bodyPr/>
          <a:lstStyle>
            <a:lvl1pPr algn="ctr">
              <a:defRPr spc="300"/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D7B43BFD-1B4C-534C-A07F-26C133DB4A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55439" y="3925341"/>
            <a:ext cx="3121025" cy="1387475"/>
          </a:xfrm>
        </p:spPr>
        <p:txBody>
          <a:bodyPr/>
          <a:lstStyle>
            <a:lvl1pPr algn="ctr">
              <a:defRPr sz="1800" b="0" spc="300"/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7067B18-5A73-EF47-B163-9AA8DFCA32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0752" y="3304728"/>
            <a:ext cx="2340000" cy="353967"/>
          </a:xfrm>
        </p:spPr>
        <p:txBody>
          <a:bodyPr/>
          <a:lstStyle>
            <a:lvl1pPr algn="r"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11875081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ED1CBB-5852-9E40-9734-5B4AD5CB024F}" type="datetime1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2825" y="419087"/>
            <a:ext cx="571155" cy="76198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609490" y="419089"/>
            <a:ext cx="10208961" cy="228594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588671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DESSO Titel und Inhalt auf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77510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DESSO Titel und Inhalt auf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ED1CBB-5852-9E40-9734-5B4AD5CB024F}" type="datetime1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2825" y="419087"/>
            <a:ext cx="571155" cy="76198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609490" y="419089"/>
            <a:ext cx="10208961" cy="228594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7C4B26C-19D1-1741-805C-38E1907FF04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903" y="0"/>
            <a:ext cx="3601988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13" name="Titel 4">
            <a:extLst>
              <a:ext uri="{FF2B5EF4-FFF2-40B4-BE49-F238E27FC236}">
                <a16:creationId xmlns:a16="http://schemas.microsoft.com/office/drawing/2014/main" id="{E50B7C81-8C21-A840-95F0-B177F67342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490" y="3179883"/>
            <a:ext cx="2340000" cy="353967"/>
          </a:xfrm>
        </p:spPr>
        <p:txBody>
          <a:bodyPr anchor="ctr"/>
          <a:lstStyle>
            <a:lvl1pPr algn="l">
              <a:defRPr sz="2000" b="1" i="0" spc="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de-DE" err="1"/>
              <a:t>Your</a:t>
            </a:r>
            <a:r>
              <a:rPr lang="de-DE"/>
              <a:t> Title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EF4B19FA-79CF-C044-885A-737488168C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490" y="4092666"/>
            <a:ext cx="2340000" cy="1800000"/>
          </a:xfrm>
        </p:spPr>
        <p:txBody>
          <a:bodyPr>
            <a:normAutofit/>
          </a:bodyPr>
          <a:lstStyle>
            <a:lvl1pPr algn="l">
              <a:defRPr sz="1600" b="0" spc="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1pPr>
            <a:lvl2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2pPr>
            <a:lvl3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3pPr>
            <a:lvl4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4pPr>
            <a:lvl5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5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15" name="Textplatzhalter 11">
            <a:extLst>
              <a:ext uri="{FF2B5EF4-FFF2-40B4-BE49-F238E27FC236}">
                <a16:creationId xmlns:a16="http://schemas.microsoft.com/office/drawing/2014/main" id="{57E40147-193B-8E40-8E77-E52798B738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79091" y="4092666"/>
            <a:ext cx="2340000" cy="1800000"/>
          </a:xfrm>
        </p:spPr>
        <p:txBody>
          <a:bodyPr>
            <a:normAutofit/>
          </a:bodyPr>
          <a:lstStyle>
            <a:lvl1pPr algn="r">
              <a:defRPr sz="1600" b="0" spc="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1pPr>
            <a:lvl2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2pPr>
            <a:lvl3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3pPr>
            <a:lvl4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4pPr>
            <a:lvl5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5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82B0C2F5-99ED-8440-9C42-23D1BDFD585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490" y="1181067"/>
            <a:ext cx="1440000" cy="1440000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4E9D747A-3198-E045-B99D-E28CAB95475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379091" y="1181067"/>
            <a:ext cx="1440000" cy="1440000"/>
          </a:xfrm>
        </p:spPr>
        <p:txBody>
          <a:bodyPr/>
          <a:lstStyle/>
          <a:p>
            <a:endParaRPr lang="de-DE"/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A3AA82AD-1D57-C44B-8AD1-897B3086C08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05385" y="2517895"/>
            <a:ext cx="3121025" cy="661988"/>
          </a:xfrm>
        </p:spPr>
        <p:txBody>
          <a:bodyPr/>
          <a:lstStyle>
            <a:lvl1pPr algn="ctr">
              <a:defRPr spc="300"/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itle</a:t>
            </a: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70639518-3699-2E40-BDD3-B1435365B6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05385" y="3814564"/>
            <a:ext cx="3121025" cy="1387475"/>
          </a:xfrm>
        </p:spPr>
        <p:txBody>
          <a:bodyPr/>
          <a:lstStyle>
            <a:lvl1pPr algn="ctr">
              <a:defRPr sz="1800" b="0" spc="300"/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20" name="Textplatzhalter 16">
            <a:extLst>
              <a:ext uri="{FF2B5EF4-FFF2-40B4-BE49-F238E27FC236}">
                <a16:creationId xmlns:a16="http://schemas.microsoft.com/office/drawing/2014/main" id="{0E48CBA6-EACC-2647-AF84-53C6B22B72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79091" y="3179883"/>
            <a:ext cx="2340000" cy="353967"/>
          </a:xfrm>
        </p:spPr>
        <p:txBody>
          <a:bodyPr/>
          <a:lstStyle>
            <a:lvl1pPr algn="r"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4776244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BE399-ED5B-E745-9505-6F2D24AE4574}" type="datetime1">
              <a:rPr lang="de-DE" smtClean="0"/>
              <a:t>18.09.202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  <p:sp>
        <p:nvSpPr>
          <p:cNvPr id="6" name="Bildplatzhalter 6">
            <a:extLst>
              <a:ext uri="{FF2B5EF4-FFF2-40B4-BE49-F238E27FC236}">
                <a16:creationId xmlns:a16="http://schemas.microsoft.com/office/drawing/2014/main" id="{40BCB6A2-16A9-F341-A9C9-C60A5DDD611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903" y="896609"/>
            <a:ext cx="3601988" cy="5725551"/>
          </a:xfrm>
        </p:spPr>
        <p:txBody>
          <a:bodyPr/>
          <a:lstStyle/>
          <a:p>
            <a:endParaRPr lang="de-DE"/>
          </a:p>
        </p:txBody>
      </p:sp>
      <p:sp>
        <p:nvSpPr>
          <p:cNvPr id="7" name="Titel 4">
            <a:extLst>
              <a:ext uri="{FF2B5EF4-FFF2-40B4-BE49-F238E27FC236}">
                <a16:creationId xmlns:a16="http://schemas.microsoft.com/office/drawing/2014/main" id="{B6CE216F-16D1-0045-97FF-1F9AA6B56D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490" y="3402400"/>
            <a:ext cx="2340000" cy="353967"/>
          </a:xfrm>
          <a:effectLst/>
        </p:spPr>
        <p:txBody>
          <a:bodyPr anchor="ctr"/>
          <a:lstStyle>
            <a:lvl1pPr algn="l">
              <a:defRPr sz="2000" b="1" i="0" spc="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de-DE" err="1"/>
              <a:t>Your</a:t>
            </a:r>
            <a:r>
              <a:rPr lang="de-DE"/>
              <a:t> Title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254F2CC4-FA93-8948-B3E3-876431AEF4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490" y="4407183"/>
            <a:ext cx="2340000" cy="1800000"/>
          </a:xfrm>
        </p:spPr>
        <p:txBody>
          <a:bodyPr>
            <a:normAutofit/>
          </a:bodyPr>
          <a:lstStyle>
            <a:lvl1pPr algn="l">
              <a:defRPr sz="1600" b="0" spc="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1pPr>
            <a:lvl2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2pPr>
            <a:lvl3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3pPr>
            <a:lvl4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4pPr>
            <a:lvl5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5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7F43A88D-7BC2-6C4F-A772-49277EEA40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79091" y="4407183"/>
            <a:ext cx="2340000" cy="1800000"/>
          </a:xfrm>
        </p:spPr>
        <p:txBody>
          <a:bodyPr>
            <a:normAutofit/>
          </a:bodyPr>
          <a:lstStyle>
            <a:lvl1pPr algn="r">
              <a:defRPr sz="1600" b="0" spc="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1pPr>
            <a:lvl2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2pPr>
            <a:lvl3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3pPr>
            <a:lvl4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4pPr>
            <a:lvl5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5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BB71461A-862D-C748-BE60-17361FCB67D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490" y="1311584"/>
            <a:ext cx="1440000" cy="1440000"/>
          </a:xfrm>
        </p:spPr>
        <p:txBody>
          <a:bodyPr/>
          <a:lstStyle>
            <a:lvl1pPr>
              <a:defRPr>
                <a:effectLst>
                  <a:outerShdw blurRad="50800" dist="50800" dir="5400000" algn="ctr" rotWithShape="0">
                    <a:schemeClr val="bg1"/>
                  </a:outerShdw>
                </a:effectLst>
              </a:defRPr>
            </a:lvl1pPr>
          </a:lstStyle>
          <a:p>
            <a:endParaRPr lang="de-DE"/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11C924F2-2866-C745-8F9E-7A412807E0A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379091" y="1311584"/>
            <a:ext cx="1440000" cy="1440000"/>
          </a:xfrm>
        </p:spPr>
        <p:txBody>
          <a:bodyPr/>
          <a:lstStyle/>
          <a:p>
            <a:endParaRPr lang="de-DE"/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C8F4D6A4-F87B-1E4F-BB10-FC5D89BAE9B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05385" y="2517895"/>
            <a:ext cx="3121025" cy="661988"/>
          </a:xfrm>
        </p:spPr>
        <p:txBody>
          <a:bodyPr/>
          <a:lstStyle>
            <a:lvl1pPr algn="ctr">
              <a:defRPr spc="300"/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itle</a:t>
            </a:r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93F9CBCC-34A6-8748-8E24-474ACD3C077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05385" y="3814564"/>
            <a:ext cx="3121025" cy="1387475"/>
          </a:xfrm>
        </p:spPr>
        <p:txBody>
          <a:bodyPr/>
          <a:lstStyle>
            <a:lvl1pPr algn="ctr">
              <a:defRPr sz="1800" b="0" spc="300"/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1655B9AF-F063-7D4E-84A6-AA5420F768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79091" y="3402400"/>
            <a:ext cx="2340000" cy="353967"/>
          </a:xfrm>
        </p:spPr>
        <p:txBody>
          <a:bodyPr/>
          <a:lstStyle>
            <a:lvl1pPr algn="r"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27480001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5CD29F-BC81-D645-8AA8-CB8F79B9D1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A291240-72B1-6B4C-A81E-72E7C1451B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5F6DB81-5219-1745-94FB-0E288B838D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B354DB-1B3C-8F47-AE9E-A64CF748A5C6}" type="datetimeFigureOut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2AD402D-D612-8845-8F52-383A4AB55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FB34B40-113C-C64B-8F37-50C2D12427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FB8EB0-B81A-524B-87ED-E1C6C5FC85E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77071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2082F7-E0E8-4150-B4AC-70915D139E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137EA42-0BBC-4F90-A63E-23BDC43E26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9860832-72AE-4CA5-AC16-8E02053CA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A08BC-E657-4814-B08A-5C6570A6729B}" type="datetimeFigureOut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55EB1A6-13D6-447E-8FA1-EBB08A299B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5C304C-18D1-4FB9-9500-7AB5C5EC4F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C4755C-D49C-4E8E-BF76-9D21D2BB75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84799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BE399-ED5B-E745-9505-6F2D24AE4574}" type="datetime1">
              <a:rPr lang="de-DE" smtClean="0"/>
              <a:t>18.09.202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50045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_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80FA06FD-629C-473E-BD33-5FEBB7D59A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285773"/>
            <a:ext cx="9839797" cy="557222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23E5AE1-A2FB-4576-8995-DB861F6488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1A55FAB-835F-4BD4-99B8-815F0D2F2B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6DF6E-E015-E141-AB9E-B1482057E4CE}" type="datetime1">
              <a:rPr lang="de-DE" smtClean="0"/>
              <a:t>18.09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D2DD6A-EA33-4BFC-AA80-A28A9ADB1A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3F9754C-C583-4880-A2D8-C83D20AE79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3339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BE399-ED5B-E745-9505-6F2D24AE4574}" type="datetime1">
              <a:rPr lang="de-DE" smtClean="0"/>
              <a:t>18.09.202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080F73E9-7984-E644-8FD4-EF5036F985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697966" y="2047574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3380869F-6B97-5E4A-9A00-6F7A9D068A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73906" y="2966754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DBBCC972-6F27-CB45-97DB-52A15136CD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662878" y="2047575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id="{322C06FE-927C-C949-AA85-04251D00E02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03167" y="2966753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245095CF-8AF9-7245-B94D-D3E6A840049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699827" y="5747914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36" name="Bildplatzhalter 35">
            <a:extLst>
              <a:ext uri="{FF2B5EF4-FFF2-40B4-BE49-F238E27FC236}">
                <a16:creationId xmlns:a16="http://schemas.microsoft.com/office/drawing/2014/main" id="{AEEC9DAD-4A2F-B545-A28C-BE4A28C030C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662875" y="3893807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0F016EBE-283D-E044-8BE9-7FF8B20D271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73906" y="4820859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F7A57F96-ADAA-104D-885A-5A8C746420A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662877" y="5747914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81158564-0DB3-2140-851D-B2ED44F0363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697966" y="3893807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25" name="Bildplatzhalter 38">
            <a:extLst>
              <a:ext uri="{FF2B5EF4-FFF2-40B4-BE49-F238E27FC236}">
                <a16:creationId xmlns:a16="http://schemas.microsoft.com/office/drawing/2014/main" id="{646B72EF-CEEF-4548-9CB7-3CB32DF93C6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201989" y="4820860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1579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811">
          <p15:clr>
            <a:srgbClr val="FBAE40"/>
          </p15:clr>
        </p15:guide>
        <p15:guide id="2" pos="431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BE399-ED5B-E745-9505-6F2D24AE4574}" type="datetime1">
              <a:rPr lang="de-DE" smtClean="0"/>
              <a:t>18.09.202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36D4985-B566-9541-AD62-369FDE46F4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90" y="838562"/>
            <a:ext cx="2978150" cy="1647825"/>
          </a:xfrm>
          <a:ln>
            <a:noFill/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ext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241A93F1-8E2C-524A-883D-A963747448A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" y="2576513"/>
            <a:ext cx="2951163" cy="4156075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EE161BF-64DF-CD4C-A3FE-DE90AB58A5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85309" y="2576514"/>
            <a:ext cx="2258291" cy="1205778"/>
          </a:xfrm>
        </p:spPr>
        <p:txBody>
          <a:bodyPr>
            <a:norm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ex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94C6F66-B0E0-034E-9202-4BC7232E73E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85309" y="5748838"/>
            <a:ext cx="2258291" cy="983751"/>
          </a:xfrm>
        </p:spPr>
        <p:txBody>
          <a:bodyPr>
            <a:norm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ext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AD5C87C4-B485-EE42-9850-E4357445DE1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68146" y="838563"/>
            <a:ext cx="4750667" cy="2943730"/>
          </a:xfrm>
        </p:spPr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CAAA2CC1-234D-3E44-A7FD-2E35568E57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2025" y="2798763"/>
            <a:ext cx="4776788" cy="98425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ext</a:t>
            </a:r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3A4696E8-24BD-054C-8F89-2C1B9A52D2C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42025" y="3834851"/>
            <a:ext cx="4750667" cy="2897737"/>
          </a:xfrm>
        </p:spPr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E4ED02E-F3FF-1543-A4A1-88BD396D311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42025" y="5742492"/>
            <a:ext cx="4776788" cy="990095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ext</a:t>
            </a:r>
          </a:p>
        </p:txBody>
      </p:sp>
    </p:spTree>
    <p:extLst>
      <p:ext uri="{BB962C8B-B14F-4D97-AF65-F5344CB8AC3E}">
        <p14:creationId xmlns:p14="http://schemas.microsoft.com/office/powerpoint/2010/main" val="36646491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DESSO Titel und Inhalt auf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EF0EDF45-ABE0-EC4D-B68F-04996445ABE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ED1CBB-5852-9E40-9734-5B4AD5CB024F}" type="datetime1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2825" y="419087"/>
            <a:ext cx="571155" cy="76198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609490" y="419089"/>
            <a:ext cx="10208961" cy="228594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519472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8C36FDC2-7F5E-4D4E-97BB-9677DBDA8B0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745" y="2210957"/>
            <a:ext cx="11049033" cy="4647043"/>
          </a:xfrm>
          <a:custGeom>
            <a:avLst/>
            <a:gdLst>
              <a:gd name="connsiteX0" fmla="*/ 0 w 11049033"/>
              <a:gd name="connsiteY0" fmla="*/ 0 h 4647043"/>
              <a:gd name="connsiteX1" fmla="*/ 1679743 w 11049033"/>
              <a:gd name="connsiteY1" fmla="*/ 0 h 4647043"/>
              <a:gd name="connsiteX2" fmla="*/ 1914561 w 11049033"/>
              <a:gd name="connsiteY2" fmla="*/ 12230 h 4647043"/>
              <a:gd name="connsiteX3" fmla="*/ 11049033 w 11049033"/>
              <a:gd name="connsiteY3" fmla="*/ 4377701 h 4647043"/>
              <a:gd name="connsiteX4" fmla="*/ 11035012 w 11049033"/>
              <a:gd name="connsiteY4" fmla="*/ 4604966 h 4647043"/>
              <a:gd name="connsiteX5" fmla="*/ 11027206 w 11049033"/>
              <a:gd name="connsiteY5" fmla="*/ 4647043 h 4647043"/>
              <a:gd name="connsiteX6" fmla="*/ 0 w 11049033"/>
              <a:gd name="connsiteY6" fmla="*/ 4647043 h 4647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049033" h="4647043">
                <a:moveTo>
                  <a:pt x="0" y="0"/>
                </a:moveTo>
                <a:lnTo>
                  <a:pt x="1679743" y="0"/>
                </a:lnTo>
                <a:lnTo>
                  <a:pt x="1914561" y="12230"/>
                </a:lnTo>
                <a:cubicBezTo>
                  <a:pt x="7086853" y="336140"/>
                  <a:pt x="11049033" y="2167278"/>
                  <a:pt x="11049033" y="4377701"/>
                </a:cubicBezTo>
                <a:cubicBezTo>
                  <a:pt x="11049033" y="4453922"/>
                  <a:pt x="11044322" y="4529693"/>
                  <a:pt x="11035012" y="4604966"/>
                </a:cubicBezTo>
                <a:lnTo>
                  <a:pt x="11027206" y="4647043"/>
                </a:lnTo>
                <a:lnTo>
                  <a:pt x="0" y="4647043"/>
                </a:lnTo>
                <a:close/>
              </a:path>
            </a:pathLst>
          </a:custGeom>
        </p:spPr>
        <p:txBody>
          <a:bodyPr wrap="square" anchor="ctr" anchorCtr="1">
            <a:noAutofit/>
          </a:bodyPr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1" y="0"/>
            <a:ext cx="12192000" cy="15994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5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38563" y="1638256"/>
            <a:ext cx="9981040" cy="457238"/>
          </a:xfrm>
        </p:spPr>
        <p:txBody>
          <a:bodyPr/>
          <a:lstStyle>
            <a:lvl1pPr marL="0" indent="0" algn="l">
              <a:buNone/>
              <a:defRPr sz="1957" b="0" spc="21" baseline="0">
                <a:solidFill>
                  <a:schemeClr val="accent1"/>
                </a:solidFill>
              </a:defRPr>
            </a:lvl1pPr>
            <a:lvl2pPr marL="4837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6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51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35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188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02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86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70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1" y="0"/>
            <a:ext cx="12192000" cy="15994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5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7564" y="419089"/>
            <a:ext cx="2170250" cy="57191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38049" y="1181069"/>
            <a:ext cx="9981554" cy="457085"/>
          </a:xfrm>
        </p:spPr>
        <p:txBody>
          <a:bodyPr/>
          <a:lstStyle>
            <a:lvl1pPr>
              <a:defRPr sz="2645" spc="53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09741"/>
            <a:ext cx="228345" cy="4646962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838222" y="2476433"/>
            <a:ext cx="4723602" cy="685936"/>
          </a:xfrm>
        </p:spPr>
        <p:txBody>
          <a:bodyPr/>
          <a:lstStyle>
            <a:lvl1pPr>
              <a:lnSpc>
                <a:spcPct val="100000"/>
              </a:lnSpc>
              <a:spcAft>
                <a:spcPts val="317"/>
              </a:spcAft>
              <a:buFontTx/>
              <a:buNone/>
              <a:defRPr sz="1376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950400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8C36FDC2-7F5E-4D4E-97BB-9677DBDA8B0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2210957"/>
            <a:ext cx="11353778" cy="4647043"/>
          </a:xfrm>
          <a:custGeom>
            <a:avLst/>
            <a:gdLst>
              <a:gd name="connsiteX0" fmla="*/ 0 w 11049033"/>
              <a:gd name="connsiteY0" fmla="*/ 0 h 4647043"/>
              <a:gd name="connsiteX1" fmla="*/ 1679743 w 11049033"/>
              <a:gd name="connsiteY1" fmla="*/ 0 h 4647043"/>
              <a:gd name="connsiteX2" fmla="*/ 1914561 w 11049033"/>
              <a:gd name="connsiteY2" fmla="*/ 12230 h 4647043"/>
              <a:gd name="connsiteX3" fmla="*/ 11049033 w 11049033"/>
              <a:gd name="connsiteY3" fmla="*/ 4377701 h 4647043"/>
              <a:gd name="connsiteX4" fmla="*/ 11035012 w 11049033"/>
              <a:gd name="connsiteY4" fmla="*/ 4604966 h 4647043"/>
              <a:gd name="connsiteX5" fmla="*/ 11027206 w 11049033"/>
              <a:gd name="connsiteY5" fmla="*/ 4647043 h 4647043"/>
              <a:gd name="connsiteX6" fmla="*/ 0 w 11049033"/>
              <a:gd name="connsiteY6" fmla="*/ 4647043 h 4647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049033" h="4647043">
                <a:moveTo>
                  <a:pt x="0" y="0"/>
                </a:moveTo>
                <a:lnTo>
                  <a:pt x="1679743" y="0"/>
                </a:lnTo>
                <a:lnTo>
                  <a:pt x="1914561" y="12230"/>
                </a:lnTo>
                <a:cubicBezTo>
                  <a:pt x="7086853" y="336140"/>
                  <a:pt x="11049033" y="2167278"/>
                  <a:pt x="11049033" y="4377701"/>
                </a:cubicBezTo>
                <a:cubicBezTo>
                  <a:pt x="11049033" y="4453922"/>
                  <a:pt x="11044322" y="4529693"/>
                  <a:pt x="11035012" y="4604966"/>
                </a:cubicBezTo>
                <a:lnTo>
                  <a:pt x="11027206" y="4647043"/>
                </a:lnTo>
                <a:lnTo>
                  <a:pt x="0" y="4647043"/>
                </a:lnTo>
                <a:close/>
              </a:path>
            </a:pathLst>
          </a:custGeom>
        </p:spPr>
        <p:txBody>
          <a:bodyPr wrap="square" anchor="ctr" anchorCtr="1">
            <a:noAutofit/>
          </a:bodyPr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1" y="0"/>
            <a:ext cx="12192000" cy="15994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5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38563" y="1638256"/>
            <a:ext cx="9981040" cy="457238"/>
          </a:xfrm>
        </p:spPr>
        <p:txBody>
          <a:bodyPr/>
          <a:lstStyle>
            <a:lvl1pPr marL="0" indent="0" algn="l">
              <a:buNone/>
              <a:defRPr sz="1957" b="0" spc="21" baseline="0">
                <a:solidFill>
                  <a:schemeClr val="accent1"/>
                </a:solidFill>
              </a:defRPr>
            </a:lvl1pPr>
            <a:lvl2pPr marL="4837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6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51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35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188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02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86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70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1" y="0"/>
            <a:ext cx="12192000" cy="15994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5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7564" y="419089"/>
            <a:ext cx="2170250" cy="57191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38049" y="1181069"/>
            <a:ext cx="9981554" cy="457085"/>
          </a:xfrm>
        </p:spPr>
        <p:txBody>
          <a:bodyPr/>
          <a:lstStyle>
            <a:lvl1pPr>
              <a:defRPr sz="2645" spc="53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838222" y="2476433"/>
            <a:ext cx="4723602" cy="685936"/>
          </a:xfrm>
        </p:spPr>
        <p:txBody>
          <a:bodyPr/>
          <a:lstStyle>
            <a:lvl1pPr>
              <a:lnSpc>
                <a:spcPct val="100000"/>
              </a:lnSpc>
              <a:spcAft>
                <a:spcPts val="317"/>
              </a:spcAft>
              <a:buFontTx/>
              <a:buNone/>
              <a:defRPr sz="1376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79066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1" y="1599416"/>
            <a:ext cx="4952223" cy="575460"/>
          </a:xfrm>
        </p:spPr>
        <p:txBody>
          <a:bodyPr anchor="t" anchorCtr="0"/>
          <a:lstStyle>
            <a:lvl1pPr marL="0" indent="0">
              <a:buNone/>
              <a:defRPr sz="2487" b="1">
                <a:solidFill>
                  <a:schemeClr val="accent1"/>
                </a:solidFill>
              </a:defRPr>
            </a:lvl1pPr>
            <a:lvl2pPr marL="483763" indent="0">
              <a:buNone/>
              <a:defRPr sz="2116" b="1"/>
            </a:lvl2pPr>
            <a:lvl3pPr marL="967527" indent="0">
              <a:buNone/>
              <a:defRPr sz="1905" b="1"/>
            </a:lvl3pPr>
            <a:lvl4pPr marL="1451290" indent="0">
              <a:buNone/>
              <a:defRPr sz="1693" b="1"/>
            </a:lvl4pPr>
            <a:lvl5pPr marL="1935053" indent="0">
              <a:buNone/>
              <a:defRPr sz="1693" b="1"/>
            </a:lvl5pPr>
            <a:lvl6pPr marL="2418817" indent="0">
              <a:buNone/>
              <a:defRPr sz="1693" b="1"/>
            </a:lvl6pPr>
            <a:lvl7pPr marL="2902580" indent="0">
              <a:buNone/>
              <a:defRPr sz="1693" b="1"/>
            </a:lvl7pPr>
            <a:lvl8pPr marL="3386343" indent="0">
              <a:buNone/>
              <a:defRPr sz="1693" b="1"/>
            </a:lvl8pPr>
            <a:lvl9pPr marL="3870107" indent="0">
              <a:buNone/>
              <a:defRPr sz="1693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1" y="2174876"/>
            <a:ext cx="4952223" cy="4379034"/>
          </a:xfrm>
        </p:spPr>
        <p:txBody>
          <a:bodyPr/>
          <a:lstStyle>
            <a:lvl1pPr>
              <a:defRPr sz="2487"/>
            </a:lvl1pPr>
            <a:lvl2pPr>
              <a:defRPr sz="2116"/>
            </a:lvl2pPr>
            <a:lvl3pPr>
              <a:defRPr sz="1905"/>
            </a:lvl3pPr>
            <a:lvl4pPr>
              <a:defRPr sz="1693"/>
            </a:lvl4pPr>
            <a:lvl5pPr>
              <a:defRPr sz="1693"/>
            </a:lvl5pPr>
            <a:lvl6pPr>
              <a:defRPr sz="1693"/>
            </a:lvl6pPr>
            <a:lvl7pPr>
              <a:defRPr sz="1693"/>
            </a:lvl7pPr>
            <a:lvl8pPr>
              <a:defRPr sz="1693"/>
            </a:lvl8pPr>
            <a:lvl9pPr>
              <a:defRPr sz="1693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867549" y="1599416"/>
            <a:ext cx="4952054" cy="575460"/>
          </a:xfrm>
        </p:spPr>
        <p:txBody>
          <a:bodyPr anchor="t" anchorCtr="0"/>
          <a:lstStyle>
            <a:lvl1pPr marL="0" indent="0">
              <a:buNone/>
              <a:defRPr sz="2487" b="1">
                <a:solidFill>
                  <a:schemeClr val="accent1"/>
                </a:solidFill>
              </a:defRPr>
            </a:lvl1pPr>
            <a:lvl2pPr marL="483763" indent="0">
              <a:buNone/>
              <a:defRPr sz="2116" b="1"/>
            </a:lvl2pPr>
            <a:lvl3pPr marL="967527" indent="0">
              <a:buNone/>
              <a:defRPr sz="1905" b="1"/>
            </a:lvl3pPr>
            <a:lvl4pPr marL="1451290" indent="0">
              <a:buNone/>
              <a:defRPr sz="1693" b="1"/>
            </a:lvl4pPr>
            <a:lvl5pPr marL="1935053" indent="0">
              <a:buNone/>
              <a:defRPr sz="1693" b="1"/>
            </a:lvl5pPr>
            <a:lvl6pPr marL="2418817" indent="0">
              <a:buNone/>
              <a:defRPr sz="1693" b="1"/>
            </a:lvl6pPr>
            <a:lvl7pPr marL="2902580" indent="0">
              <a:buNone/>
              <a:defRPr sz="1693" b="1"/>
            </a:lvl7pPr>
            <a:lvl8pPr marL="3386343" indent="0">
              <a:buNone/>
              <a:defRPr sz="1693" b="1"/>
            </a:lvl8pPr>
            <a:lvl9pPr marL="3870107" indent="0">
              <a:buNone/>
              <a:defRPr sz="1693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867549" y="2174876"/>
            <a:ext cx="4952054" cy="4379034"/>
          </a:xfrm>
        </p:spPr>
        <p:txBody>
          <a:bodyPr/>
          <a:lstStyle>
            <a:lvl1pPr>
              <a:defRPr sz="2487"/>
            </a:lvl1pPr>
            <a:lvl2pPr>
              <a:defRPr sz="2116"/>
            </a:lvl2pPr>
            <a:lvl3pPr>
              <a:defRPr sz="1905"/>
            </a:lvl3pPr>
            <a:lvl4pPr>
              <a:defRPr sz="1693"/>
            </a:lvl4pPr>
            <a:lvl5pPr>
              <a:defRPr sz="1693"/>
            </a:lvl5pPr>
            <a:lvl6pPr>
              <a:defRPr sz="1693"/>
            </a:lvl6pPr>
            <a:lvl7pPr>
              <a:defRPr sz="1693"/>
            </a:lvl7pPr>
            <a:lvl8pPr>
              <a:defRPr sz="1693"/>
            </a:lvl8pPr>
            <a:lvl9pPr>
              <a:defRPr sz="1693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02.2022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trategische und konzeptionelle betriebswirtschaftliche Beratung sowie operative Projekt und Vorhabenunterstützung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94671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1064303" y="381374"/>
            <a:ext cx="734518" cy="228594"/>
          </a:xfrm>
        </p:spPr>
        <p:txBody>
          <a:bodyPr/>
          <a:lstStyle/>
          <a:p>
            <a:fld id="{41DBE399-ED5B-E745-9505-6F2D24AE4574}" type="datetime1">
              <a:rPr lang="de-DE" smtClean="0"/>
              <a:t>18.09.202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1977218" y="381374"/>
            <a:ext cx="8837608" cy="228594"/>
          </a:xfrm>
        </p:spPr>
        <p:txBody>
          <a:bodyPr/>
          <a:lstStyle/>
          <a:p>
            <a:r>
              <a:rPr lang="de-DE" err="1"/>
              <a:t>adesso</a:t>
            </a:r>
            <a:r>
              <a:rPr lang="de-DE"/>
              <a:t> S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584865" y="381374"/>
            <a:ext cx="304745" cy="228594"/>
          </a:xfrm>
        </p:spPr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5A561CC-329E-2A43-AE70-ACEB010A19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4865" y="871538"/>
            <a:ext cx="1392353" cy="5986462"/>
          </a:xfr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08945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elcom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BE399-ED5B-E745-9505-6F2D24AE4574}" type="datetime1">
              <a:rPr lang="de-DE" smtClean="0"/>
              <a:t>18.09.202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EE0C4B3-9CDA-5E40-B53A-738AE0F220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189" y="3062967"/>
            <a:ext cx="9412269" cy="732069"/>
          </a:xfrm>
        </p:spPr>
        <p:txBody>
          <a:bodyPr anchor="ctr"/>
          <a:lstStyle>
            <a:lvl1pPr algn="ctr">
              <a:defRPr sz="4800" b="1" i="0" spc="60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de-DE" err="1"/>
              <a:t>Your</a:t>
            </a:r>
            <a:r>
              <a:rPr lang="de-DE"/>
              <a:t> Titl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424B196-9260-8D4D-8955-036CC9541E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1376" y="4202985"/>
            <a:ext cx="9432081" cy="420774"/>
          </a:xfrm>
        </p:spPr>
        <p:txBody>
          <a:bodyPr/>
          <a:lstStyle>
            <a:lvl1pPr algn="ctr">
              <a:defRPr b="0" spc="299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1pPr>
            <a:lvl2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2pPr>
            <a:lvl3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3pPr>
            <a:lvl4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4pPr>
            <a:lvl5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5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5A561CC-329E-2A43-AE70-ACEB010A19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490" y="1017918"/>
            <a:ext cx="10208961" cy="5458709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62114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9648B7-FB72-42A5-9EB6-F594A99FE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33FE8D6-63D5-40E1-A8B0-98E9851F9A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D48D193-A8EB-444D-AB7D-7C22646F7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A08BC-E657-4814-B08A-5C6570A6729B}" type="datetimeFigureOut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92D5DA1-087B-4733-A73F-FD48933103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2C27E90-4143-4F7E-AD5F-5F632F979F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C4755C-D49C-4E8E-BF76-9D21D2BB75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9631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elcom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5A561CC-329E-2A43-AE70-ACEB010A19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490" y="929342"/>
            <a:ext cx="10208961" cy="5458709"/>
          </a:xfrm>
        </p:spPr>
        <p:txBody>
          <a:bodyPr/>
          <a:lstStyle/>
          <a:p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BE399-ED5B-E745-9505-6F2D24AE4574}" type="datetime1">
              <a:rPr lang="de-DE" smtClean="0"/>
              <a:t>18.09.202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EE0C4B3-9CDA-5E40-B53A-738AE0F220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1151" y="3304728"/>
            <a:ext cx="2340000" cy="353967"/>
          </a:xfrm>
        </p:spPr>
        <p:txBody>
          <a:bodyPr anchor="ctr"/>
          <a:lstStyle>
            <a:lvl1pPr algn="l">
              <a:defRPr sz="2000" b="1" i="0" spc="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de-DE" err="1"/>
              <a:t>Your</a:t>
            </a:r>
            <a:r>
              <a:rPr lang="de-DE"/>
              <a:t> Titl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424B196-9260-8D4D-8955-036CC9541E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1151" y="4217512"/>
            <a:ext cx="2340000" cy="1800000"/>
          </a:xfrm>
        </p:spPr>
        <p:txBody>
          <a:bodyPr>
            <a:normAutofit/>
          </a:bodyPr>
          <a:lstStyle>
            <a:lvl1pPr algn="l">
              <a:defRPr sz="1600" b="0" spc="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1pPr>
            <a:lvl2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2pPr>
            <a:lvl3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3pPr>
            <a:lvl4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4pPr>
            <a:lvl5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5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8DF13D35-AF1B-DE4E-9B66-D4C5A15229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0752" y="4167661"/>
            <a:ext cx="2340000" cy="1800000"/>
          </a:xfrm>
        </p:spPr>
        <p:txBody>
          <a:bodyPr>
            <a:normAutofit/>
          </a:bodyPr>
          <a:lstStyle>
            <a:lvl1pPr algn="r">
              <a:defRPr sz="1600" b="0" spc="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1pPr>
            <a:lvl2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2pPr>
            <a:lvl3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3pPr>
            <a:lvl4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4pPr>
            <a:lvl5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5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DA67DBC-A04D-6147-BA8A-BC13628866A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1151" y="1305913"/>
            <a:ext cx="1440000" cy="1440000"/>
          </a:xfrm>
        </p:spPr>
        <p:txBody>
          <a:bodyPr/>
          <a:lstStyle/>
          <a:p>
            <a:endParaRPr lang="de-DE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64D8135F-52FB-3646-B323-8C5121C634B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020752" y="1307617"/>
            <a:ext cx="1440000" cy="1440000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003D9AD-F695-9B47-BD10-7AF5ED90A00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55440" y="2642741"/>
            <a:ext cx="3121025" cy="661988"/>
          </a:xfrm>
        </p:spPr>
        <p:txBody>
          <a:bodyPr/>
          <a:lstStyle>
            <a:lvl1pPr algn="ctr">
              <a:defRPr spc="299"/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D7B43BFD-1B4C-534C-A07F-26C133DB4A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55440" y="3925342"/>
            <a:ext cx="3121025" cy="1387475"/>
          </a:xfrm>
        </p:spPr>
        <p:txBody>
          <a:bodyPr/>
          <a:lstStyle>
            <a:lvl1pPr algn="ctr">
              <a:defRPr sz="1800" b="0" spc="299"/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7067B18-5A73-EF47-B163-9AA8DFCA32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0752" y="3304728"/>
            <a:ext cx="2340000" cy="353967"/>
          </a:xfrm>
        </p:spPr>
        <p:txBody>
          <a:bodyPr/>
          <a:lstStyle>
            <a:lvl1pPr algn="r"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28715534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ED1CBB-5852-9E40-9734-5B4AD5CB024F}" type="datetime1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2826" y="419087"/>
            <a:ext cx="571155" cy="76198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609490" y="419089"/>
            <a:ext cx="10208961" cy="228594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502253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DESSO Titel und Inhalt auf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67433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DESSO Titel und Inhalt auf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ED1CBB-5852-9E40-9734-5B4AD5CB024F}" type="datetime1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2826" y="419087"/>
            <a:ext cx="571155" cy="76198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609490" y="419089"/>
            <a:ext cx="10208961" cy="228594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7C4B26C-19D1-1741-805C-38E1907FF04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903" y="1"/>
            <a:ext cx="3601988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13" name="Titel 4">
            <a:extLst>
              <a:ext uri="{FF2B5EF4-FFF2-40B4-BE49-F238E27FC236}">
                <a16:creationId xmlns:a16="http://schemas.microsoft.com/office/drawing/2014/main" id="{E50B7C81-8C21-A840-95F0-B177F67342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490" y="3179883"/>
            <a:ext cx="2340000" cy="353967"/>
          </a:xfrm>
        </p:spPr>
        <p:txBody>
          <a:bodyPr anchor="ctr"/>
          <a:lstStyle>
            <a:lvl1pPr algn="l">
              <a:defRPr sz="2000" b="1" i="0" spc="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de-DE" err="1"/>
              <a:t>Your</a:t>
            </a:r>
            <a:r>
              <a:rPr lang="de-DE"/>
              <a:t> Title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EF4B19FA-79CF-C044-885A-737488168C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490" y="4092667"/>
            <a:ext cx="2340000" cy="1800000"/>
          </a:xfrm>
        </p:spPr>
        <p:txBody>
          <a:bodyPr>
            <a:normAutofit/>
          </a:bodyPr>
          <a:lstStyle>
            <a:lvl1pPr algn="l">
              <a:defRPr sz="1600" b="0" spc="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1pPr>
            <a:lvl2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2pPr>
            <a:lvl3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3pPr>
            <a:lvl4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4pPr>
            <a:lvl5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5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15" name="Textplatzhalter 11">
            <a:extLst>
              <a:ext uri="{FF2B5EF4-FFF2-40B4-BE49-F238E27FC236}">
                <a16:creationId xmlns:a16="http://schemas.microsoft.com/office/drawing/2014/main" id="{57E40147-193B-8E40-8E77-E52798B738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79091" y="4092667"/>
            <a:ext cx="2340000" cy="1800000"/>
          </a:xfrm>
        </p:spPr>
        <p:txBody>
          <a:bodyPr>
            <a:normAutofit/>
          </a:bodyPr>
          <a:lstStyle>
            <a:lvl1pPr algn="r">
              <a:defRPr sz="1600" b="0" spc="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1pPr>
            <a:lvl2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2pPr>
            <a:lvl3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3pPr>
            <a:lvl4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4pPr>
            <a:lvl5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5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82B0C2F5-99ED-8440-9C42-23D1BDFD585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491" y="1181068"/>
            <a:ext cx="1440000" cy="1440000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4E9D747A-3198-E045-B99D-E28CAB95475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379091" y="1181068"/>
            <a:ext cx="1440000" cy="1440000"/>
          </a:xfrm>
        </p:spPr>
        <p:txBody>
          <a:bodyPr/>
          <a:lstStyle/>
          <a:p>
            <a:endParaRPr lang="de-DE"/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A3AA82AD-1D57-C44B-8AD1-897B3086C08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05386" y="2517896"/>
            <a:ext cx="3121025" cy="661988"/>
          </a:xfrm>
        </p:spPr>
        <p:txBody>
          <a:bodyPr/>
          <a:lstStyle>
            <a:lvl1pPr algn="ctr">
              <a:defRPr spc="299"/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itle</a:t>
            </a: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70639518-3699-2E40-BDD3-B1435365B6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05386" y="3814565"/>
            <a:ext cx="3121025" cy="1387475"/>
          </a:xfrm>
        </p:spPr>
        <p:txBody>
          <a:bodyPr/>
          <a:lstStyle>
            <a:lvl1pPr algn="ctr">
              <a:defRPr sz="1800" b="0" spc="299"/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20" name="Textplatzhalter 16">
            <a:extLst>
              <a:ext uri="{FF2B5EF4-FFF2-40B4-BE49-F238E27FC236}">
                <a16:creationId xmlns:a16="http://schemas.microsoft.com/office/drawing/2014/main" id="{0E48CBA6-EACC-2647-AF84-53C6B22B72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79091" y="3179883"/>
            <a:ext cx="2340000" cy="353967"/>
          </a:xfrm>
        </p:spPr>
        <p:txBody>
          <a:bodyPr/>
          <a:lstStyle>
            <a:lvl1pPr algn="r"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36376514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BE399-ED5B-E745-9505-6F2D24AE4574}" type="datetime1">
              <a:rPr lang="de-DE" smtClean="0"/>
              <a:t>18.09.202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  <p:sp>
        <p:nvSpPr>
          <p:cNvPr id="6" name="Bildplatzhalter 6">
            <a:extLst>
              <a:ext uri="{FF2B5EF4-FFF2-40B4-BE49-F238E27FC236}">
                <a16:creationId xmlns:a16="http://schemas.microsoft.com/office/drawing/2014/main" id="{40BCB6A2-16A9-F341-A9C9-C60A5DDD611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903" y="896610"/>
            <a:ext cx="3601988" cy="5725551"/>
          </a:xfrm>
        </p:spPr>
        <p:txBody>
          <a:bodyPr/>
          <a:lstStyle/>
          <a:p>
            <a:endParaRPr lang="de-DE"/>
          </a:p>
        </p:txBody>
      </p:sp>
      <p:sp>
        <p:nvSpPr>
          <p:cNvPr id="7" name="Titel 4">
            <a:extLst>
              <a:ext uri="{FF2B5EF4-FFF2-40B4-BE49-F238E27FC236}">
                <a16:creationId xmlns:a16="http://schemas.microsoft.com/office/drawing/2014/main" id="{B6CE216F-16D1-0045-97FF-1F9AA6B56D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490" y="3402400"/>
            <a:ext cx="2340000" cy="353967"/>
          </a:xfrm>
          <a:effectLst/>
        </p:spPr>
        <p:txBody>
          <a:bodyPr anchor="ctr"/>
          <a:lstStyle>
            <a:lvl1pPr algn="l">
              <a:defRPr sz="2000" b="1" i="0" spc="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de-DE" err="1"/>
              <a:t>Your</a:t>
            </a:r>
            <a:r>
              <a:rPr lang="de-DE"/>
              <a:t> Title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254F2CC4-FA93-8948-B3E3-876431AEF4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490" y="4407183"/>
            <a:ext cx="2340000" cy="1800000"/>
          </a:xfrm>
        </p:spPr>
        <p:txBody>
          <a:bodyPr>
            <a:normAutofit/>
          </a:bodyPr>
          <a:lstStyle>
            <a:lvl1pPr algn="l">
              <a:defRPr sz="1600" b="0" spc="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1pPr>
            <a:lvl2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2pPr>
            <a:lvl3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3pPr>
            <a:lvl4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4pPr>
            <a:lvl5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5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7F43A88D-7BC2-6C4F-A772-49277EEA40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79091" y="4407183"/>
            <a:ext cx="2340000" cy="1800000"/>
          </a:xfrm>
        </p:spPr>
        <p:txBody>
          <a:bodyPr>
            <a:normAutofit/>
          </a:bodyPr>
          <a:lstStyle>
            <a:lvl1pPr algn="r">
              <a:defRPr sz="1600" b="0" spc="0"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1pPr>
            <a:lvl2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2pPr>
            <a:lvl3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3pPr>
            <a:lvl4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4pPr>
            <a:lvl5pPr>
              <a:defRPr>
                <a:effectLst>
                  <a:outerShdw blurRad="508000" dist="381000" dir="5400000" algn="t" rotWithShape="0">
                    <a:prstClr val="black">
                      <a:alpha val="30000"/>
                    </a:prstClr>
                  </a:outerShdw>
                </a:effectLst>
              </a:defRPr>
            </a:lvl5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BB71461A-862D-C748-BE60-17361FCB67D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491" y="1311584"/>
            <a:ext cx="1440000" cy="1440000"/>
          </a:xfrm>
        </p:spPr>
        <p:txBody>
          <a:bodyPr/>
          <a:lstStyle>
            <a:lvl1pPr>
              <a:defRPr>
                <a:effectLst>
                  <a:outerShdw blurRad="50800" dist="50800" dir="5400000" algn="ctr" rotWithShape="0">
                    <a:schemeClr val="bg1"/>
                  </a:outerShdw>
                </a:effectLst>
              </a:defRPr>
            </a:lvl1pPr>
          </a:lstStyle>
          <a:p>
            <a:endParaRPr lang="de-DE"/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11C924F2-2866-C745-8F9E-7A412807E0A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379091" y="1311584"/>
            <a:ext cx="1440000" cy="1440000"/>
          </a:xfrm>
        </p:spPr>
        <p:txBody>
          <a:bodyPr/>
          <a:lstStyle/>
          <a:p>
            <a:endParaRPr lang="de-DE"/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C8F4D6A4-F87B-1E4F-BB10-FC5D89BAE9B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05386" y="2517896"/>
            <a:ext cx="3121025" cy="661988"/>
          </a:xfrm>
        </p:spPr>
        <p:txBody>
          <a:bodyPr/>
          <a:lstStyle>
            <a:lvl1pPr algn="ctr">
              <a:defRPr spc="299"/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itle</a:t>
            </a:r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93F9CBCC-34A6-8748-8E24-474ACD3C077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05386" y="3814565"/>
            <a:ext cx="3121025" cy="1387475"/>
          </a:xfrm>
        </p:spPr>
        <p:txBody>
          <a:bodyPr/>
          <a:lstStyle>
            <a:lvl1pPr algn="ctr">
              <a:defRPr sz="1800" b="0" spc="299"/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1655B9AF-F063-7D4E-84A6-AA5420F768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79091" y="3402400"/>
            <a:ext cx="2340000" cy="353967"/>
          </a:xfrm>
        </p:spPr>
        <p:txBody>
          <a:bodyPr/>
          <a:lstStyle>
            <a:lvl1pPr algn="r"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9703607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5CD29F-BC81-D645-8AA8-CB8F79B9D1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A291240-72B1-6B4C-A81E-72E7C1451B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08" indent="0" algn="ctr">
              <a:buNone/>
              <a:defRPr sz="2000"/>
            </a:lvl2pPr>
            <a:lvl3pPr marL="914216" indent="0" algn="ctr">
              <a:buNone/>
              <a:defRPr sz="1800"/>
            </a:lvl3pPr>
            <a:lvl4pPr marL="1371324" indent="0" algn="ctr">
              <a:buNone/>
              <a:defRPr sz="1600"/>
            </a:lvl4pPr>
            <a:lvl5pPr marL="1828432" indent="0" algn="ctr">
              <a:buNone/>
              <a:defRPr sz="1600"/>
            </a:lvl5pPr>
            <a:lvl6pPr marL="2285539" indent="0" algn="ctr">
              <a:buNone/>
              <a:defRPr sz="1600"/>
            </a:lvl6pPr>
            <a:lvl7pPr marL="2742648" indent="0" algn="ctr">
              <a:buNone/>
              <a:defRPr sz="1600"/>
            </a:lvl7pPr>
            <a:lvl8pPr marL="3199756" indent="0" algn="ctr">
              <a:buNone/>
              <a:defRPr sz="1600"/>
            </a:lvl8pPr>
            <a:lvl9pPr marL="3656863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5F6DB81-5219-1745-94FB-0E288B838D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B354DB-1B3C-8F47-AE9E-A64CF748A5C6}" type="datetimeFigureOut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2AD402D-D612-8845-8F52-383A4AB55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FB34B40-113C-C64B-8F37-50C2D12427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FB8EB0-B81A-524B-87ED-E1C6C5FC85E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45332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BE399-ED5B-E745-9505-6F2D24AE4574}" type="datetime1">
              <a:rPr lang="de-DE" smtClean="0"/>
              <a:t>18.09.202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84640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_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3E5AE1-A2FB-4576-8995-DB861F6488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1A55FAB-835F-4BD4-99B8-815F0D2F2B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6DF6E-E015-E141-AB9E-B1482057E4CE}" type="datetime1">
              <a:rPr lang="de-DE" smtClean="0"/>
              <a:t>18.09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D2DD6A-EA33-4BFC-AA80-A28A9ADB1A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3F9754C-C583-4880-A2D8-C83D20AE79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21345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BE399-ED5B-E745-9505-6F2D24AE4574}" type="datetime1">
              <a:rPr lang="de-DE" smtClean="0"/>
              <a:t>18.09.202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080F73E9-7984-E644-8FD4-EF5036F985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697967" y="2047575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3380869F-6B97-5E4A-9A00-6F7A9D068A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73907" y="2966755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DBBCC972-6F27-CB45-97DB-52A15136CD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662879" y="2047576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id="{322C06FE-927C-C949-AA85-04251D00E02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03168" y="2966754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245095CF-8AF9-7245-B94D-D3E6A840049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699828" y="5747914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36" name="Bildplatzhalter 35">
            <a:extLst>
              <a:ext uri="{FF2B5EF4-FFF2-40B4-BE49-F238E27FC236}">
                <a16:creationId xmlns:a16="http://schemas.microsoft.com/office/drawing/2014/main" id="{AEEC9DAD-4A2F-B545-A28C-BE4A28C030C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662876" y="3893808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0F016EBE-283D-E044-8BE9-7FF8B20D271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73907" y="4820859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F7A57F96-ADAA-104D-885A-5A8C746420A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662878" y="5747914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81158564-0DB3-2140-851D-B2ED44F0363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697967" y="3893808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25" name="Bildplatzhalter 38">
            <a:extLst>
              <a:ext uri="{FF2B5EF4-FFF2-40B4-BE49-F238E27FC236}">
                <a16:creationId xmlns:a16="http://schemas.microsoft.com/office/drawing/2014/main" id="{646B72EF-CEEF-4548-9CB7-3CB32DF93C6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201990" y="4820860"/>
            <a:ext cx="1008047" cy="900000"/>
          </a:xfrm>
          <a:custGeom>
            <a:avLst/>
            <a:gdLst>
              <a:gd name="connsiteX0" fmla="*/ 90002 w 1003296"/>
              <a:gd name="connsiteY0" fmla="*/ 0 h 540000"/>
              <a:gd name="connsiteX1" fmla="*/ 913294 w 1003296"/>
              <a:gd name="connsiteY1" fmla="*/ 0 h 540000"/>
              <a:gd name="connsiteX2" fmla="*/ 914532 w 1003296"/>
              <a:gd name="connsiteY2" fmla="*/ 250 h 540000"/>
              <a:gd name="connsiteX3" fmla="*/ 1003296 w 1003296"/>
              <a:gd name="connsiteY3" fmla="*/ 250 h 540000"/>
              <a:gd name="connsiteX4" fmla="*/ 1003296 w 1003296"/>
              <a:gd name="connsiteY4" fmla="*/ 90002 h 540000"/>
              <a:gd name="connsiteX5" fmla="*/ 1003296 w 1003296"/>
              <a:gd name="connsiteY5" fmla="*/ 449998 h 540000"/>
              <a:gd name="connsiteX6" fmla="*/ 1003296 w 1003296"/>
              <a:gd name="connsiteY6" fmla="*/ 540000 h 540000"/>
              <a:gd name="connsiteX7" fmla="*/ 913294 w 1003296"/>
              <a:gd name="connsiteY7" fmla="*/ 540000 h 540000"/>
              <a:gd name="connsiteX8" fmla="*/ 90002 w 1003296"/>
              <a:gd name="connsiteY8" fmla="*/ 540000 h 540000"/>
              <a:gd name="connsiteX9" fmla="*/ 0 w 1003296"/>
              <a:gd name="connsiteY9" fmla="*/ 540000 h 540000"/>
              <a:gd name="connsiteX10" fmla="*/ 0 w 1003296"/>
              <a:gd name="connsiteY10" fmla="*/ 449998 h 540000"/>
              <a:gd name="connsiteX11" fmla="*/ 0 w 1003296"/>
              <a:gd name="connsiteY11" fmla="*/ 90002 h 540000"/>
              <a:gd name="connsiteX12" fmla="*/ 0 w 1003296"/>
              <a:gd name="connsiteY12" fmla="*/ 250 h 540000"/>
              <a:gd name="connsiteX13" fmla="*/ 88764 w 1003296"/>
              <a:gd name="connsiteY13" fmla="*/ 25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3296" h="540000">
                <a:moveTo>
                  <a:pt x="90002" y="0"/>
                </a:moveTo>
                <a:lnTo>
                  <a:pt x="913294" y="0"/>
                </a:lnTo>
                <a:lnTo>
                  <a:pt x="914532" y="250"/>
                </a:lnTo>
                <a:lnTo>
                  <a:pt x="1003296" y="250"/>
                </a:lnTo>
                <a:lnTo>
                  <a:pt x="1003296" y="90002"/>
                </a:lnTo>
                <a:lnTo>
                  <a:pt x="1003296" y="449998"/>
                </a:lnTo>
                <a:lnTo>
                  <a:pt x="1003296" y="540000"/>
                </a:lnTo>
                <a:lnTo>
                  <a:pt x="913294" y="540000"/>
                </a:lnTo>
                <a:lnTo>
                  <a:pt x="90002" y="540000"/>
                </a:lnTo>
                <a:lnTo>
                  <a:pt x="0" y="540000"/>
                </a:lnTo>
                <a:lnTo>
                  <a:pt x="0" y="449998"/>
                </a:lnTo>
                <a:lnTo>
                  <a:pt x="0" y="90002"/>
                </a:lnTo>
                <a:lnTo>
                  <a:pt x="0" y="250"/>
                </a:lnTo>
                <a:lnTo>
                  <a:pt x="88764" y="250"/>
                </a:lnTo>
                <a:close/>
              </a:path>
            </a:pathLst>
          </a:custGeom>
          <a:ln w="25400">
            <a:noFill/>
          </a:ln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6165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811">
          <p15:clr>
            <a:srgbClr val="FBAE40"/>
          </p15:clr>
        </p15:guide>
        <p15:guide id="2" pos="431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BE399-ED5B-E745-9505-6F2D24AE4574}" type="datetime1">
              <a:rPr lang="de-DE" smtClean="0"/>
              <a:t>18.09.202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36D4985-B566-9541-AD62-369FDE46F4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91" y="838563"/>
            <a:ext cx="2978150" cy="1647825"/>
          </a:xfrm>
          <a:ln>
            <a:noFill/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ext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241A93F1-8E2C-524A-883D-A963747448A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1" y="2576514"/>
            <a:ext cx="2951163" cy="4156075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EE161BF-64DF-CD4C-A3FE-DE90AB58A5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85310" y="2576515"/>
            <a:ext cx="2258291" cy="1205778"/>
          </a:xfrm>
        </p:spPr>
        <p:txBody>
          <a:bodyPr>
            <a:norm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ex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94C6F66-B0E0-034E-9202-4BC7232E73E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85310" y="5748839"/>
            <a:ext cx="2258291" cy="983751"/>
          </a:xfrm>
        </p:spPr>
        <p:txBody>
          <a:bodyPr>
            <a:norm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ext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AD5C87C4-B485-EE42-9850-E4357445DE1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68146" y="838563"/>
            <a:ext cx="4750667" cy="2943730"/>
          </a:xfrm>
        </p:spPr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CAAA2CC1-234D-3E44-A7FD-2E35568E57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2026" y="2798764"/>
            <a:ext cx="4776788" cy="98425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ext</a:t>
            </a:r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3A4696E8-24BD-054C-8F89-2C1B9A52D2C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42026" y="3834852"/>
            <a:ext cx="4750667" cy="2897737"/>
          </a:xfrm>
        </p:spPr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E4ED02E-F3FF-1543-A4A1-88BD396D311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42026" y="5742493"/>
            <a:ext cx="4776788" cy="990095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de-DE" err="1"/>
              <a:t>Your</a:t>
            </a:r>
            <a:r>
              <a:rPr lang="de-DE"/>
              <a:t> Text</a:t>
            </a:r>
          </a:p>
        </p:txBody>
      </p:sp>
    </p:spTree>
    <p:extLst>
      <p:ext uri="{BB962C8B-B14F-4D97-AF65-F5344CB8AC3E}">
        <p14:creationId xmlns:p14="http://schemas.microsoft.com/office/powerpoint/2010/main" val="14204551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5B4125-7B42-430D-9AD0-F9D14D64F3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34458FD-069B-4BCD-A7D9-2E9CE45D8EE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CAFCED9-DE1C-45D7-8094-BFDEF69CDF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6124CBC-79A8-44BA-AFF0-A5521AC75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A08BC-E657-4814-B08A-5C6570A6729B}" type="datetimeFigureOut">
              <a:rPr lang="de-DE" smtClean="0"/>
              <a:t>18.09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0D1C7B3-45E2-4FE1-B85E-56660923E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9B93E2B-9722-4A1C-8165-1BCD527EC3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C4755C-D49C-4E8E-BF76-9D21D2BB75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05126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DESSO Titel und Inhalt auf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EF0EDF45-ABE0-EC4D-B68F-04996445ABE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"/>
            <a:ext cx="12192000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ED1CBB-5852-9E40-9734-5B4AD5CB024F}" type="datetime1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2826" y="419087"/>
            <a:ext cx="571155" cy="76198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609490" y="419089"/>
            <a:ext cx="10208961" cy="228594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8006088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8C36FDC2-7F5E-4D4E-97BB-9677DBDA8B0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745" y="2210958"/>
            <a:ext cx="11049033" cy="4647043"/>
          </a:xfrm>
          <a:custGeom>
            <a:avLst/>
            <a:gdLst>
              <a:gd name="connsiteX0" fmla="*/ 0 w 11049033"/>
              <a:gd name="connsiteY0" fmla="*/ 0 h 4647043"/>
              <a:gd name="connsiteX1" fmla="*/ 1679743 w 11049033"/>
              <a:gd name="connsiteY1" fmla="*/ 0 h 4647043"/>
              <a:gd name="connsiteX2" fmla="*/ 1914561 w 11049033"/>
              <a:gd name="connsiteY2" fmla="*/ 12230 h 4647043"/>
              <a:gd name="connsiteX3" fmla="*/ 11049033 w 11049033"/>
              <a:gd name="connsiteY3" fmla="*/ 4377701 h 4647043"/>
              <a:gd name="connsiteX4" fmla="*/ 11035012 w 11049033"/>
              <a:gd name="connsiteY4" fmla="*/ 4604966 h 4647043"/>
              <a:gd name="connsiteX5" fmla="*/ 11027206 w 11049033"/>
              <a:gd name="connsiteY5" fmla="*/ 4647043 h 4647043"/>
              <a:gd name="connsiteX6" fmla="*/ 0 w 11049033"/>
              <a:gd name="connsiteY6" fmla="*/ 4647043 h 4647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049033" h="4647043">
                <a:moveTo>
                  <a:pt x="0" y="0"/>
                </a:moveTo>
                <a:lnTo>
                  <a:pt x="1679743" y="0"/>
                </a:lnTo>
                <a:lnTo>
                  <a:pt x="1914561" y="12230"/>
                </a:lnTo>
                <a:cubicBezTo>
                  <a:pt x="7086853" y="336140"/>
                  <a:pt x="11049033" y="2167278"/>
                  <a:pt x="11049033" y="4377701"/>
                </a:cubicBezTo>
                <a:cubicBezTo>
                  <a:pt x="11049033" y="4453922"/>
                  <a:pt x="11044322" y="4529693"/>
                  <a:pt x="11035012" y="4604966"/>
                </a:cubicBezTo>
                <a:lnTo>
                  <a:pt x="11027206" y="4647043"/>
                </a:lnTo>
                <a:lnTo>
                  <a:pt x="0" y="4647043"/>
                </a:lnTo>
                <a:close/>
              </a:path>
            </a:pathLst>
          </a:custGeom>
        </p:spPr>
        <p:txBody>
          <a:bodyPr wrap="square" anchor="ctr" anchorCtr="1">
            <a:noAutofit/>
          </a:bodyPr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2" y="0"/>
            <a:ext cx="12192000" cy="15994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5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38564" y="1638256"/>
            <a:ext cx="9981040" cy="457238"/>
          </a:xfrm>
        </p:spPr>
        <p:txBody>
          <a:bodyPr/>
          <a:lstStyle>
            <a:lvl1pPr marL="0" indent="0" algn="l">
              <a:buNone/>
              <a:defRPr sz="1956" b="0" spc="21" baseline="0">
                <a:solidFill>
                  <a:schemeClr val="accent1"/>
                </a:solidFill>
              </a:defRPr>
            </a:lvl1pPr>
            <a:lvl2pPr marL="4836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67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509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34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18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01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8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69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2" y="0"/>
            <a:ext cx="12192000" cy="15994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5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7564" y="419089"/>
            <a:ext cx="2170250" cy="57191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38049" y="1181070"/>
            <a:ext cx="9981554" cy="457085"/>
          </a:xfrm>
        </p:spPr>
        <p:txBody>
          <a:bodyPr/>
          <a:lstStyle>
            <a:lvl1pPr>
              <a:defRPr sz="2644" spc="53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09742"/>
            <a:ext cx="228345" cy="4646962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838222" y="2476433"/>
            <a:ext cx="4723602" cy="685936"/>
          </a:xfrm>
        </p:spPr>
        <p:txBody>
          <a:bodyPr/>
          <a:lstStyle>
            <a:lvl1pPr>
              <a:lnSpc>
                <a:spcPct val="100000"/>
              </a:lnSpc>
              <a:spcAft>
                <a:spcPts val="317"/>
              </a:spcAft>
              <a:buFontTx/>
              <a:buNone/>
              <a:defRPr sz="1376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5531611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8C36FDC2-7F5E-4D4E-97BB-9677DBDA8B0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2210958"/>
            <a:ext cx="11353778" cy="4647043"/>
          </a:xfrm>
          <a:custGeom>
            <a:avLst/>
            <a:gdLst>
              <a:gd name="connsiteX0" fmla="*/ 0 w 11049033"/>
              <a:gd name="connsiteY0" fmla="*/ 0 h 4647043"/>
              <a:gd name="connsiteX1" fmla="*/ 1679743 w 11049033"/>
              <a:gd name="connsiteY1" fmla="*/ 0 h 4647043"/>
              <a:gd name="connsiteX2" fmla="*/ 1914561 w 11049033"/>
              <a:gd name="connsiteY2" fmla="*/ 12230 h 4647043"/>
              <a:gd name="connsiteX3" fmla="*/ 11049033 w 11049033"/>
              <a:gd name="connsiteY3" fmla="*/ 4377701 h 4647043"/>
              <a:gd name="connsiteX4" fmla="*/ 11035012 w 11049033"/>
              <a:gd name="connsiteY4" fmla="*/ 4604966 h 4647043"/>
              <a:gd name="connsiteX5" fmla="*/ 11027206 w 11049033"/>
              <a:gd name="connsiteY5" fmla="*/ 4647043 h 4647043"/>
              <a:gd name="connsiteX6" fmla="*/ 0 w 11049033"/>
              <a:gd name="connsiteY6" fmla="*/ 4647043 h 4647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049033" h="4647043">
                <a:moveTo>
                  <a:pt x="0" y="0"/>
                </a:moveTo>
                <a:lnTo>
                  <a:pt x="1679743" y="0"/>
                </a:lnTo>
                <a:lnTo>
                  <a:pt x="1914561" y="12230"/>
                </a:lnTo>
                <a:cubicBezTo>
                  <a:pt x="7086853" y="336140"/>
                  <a:pt x="11049033" y="2167278"/>
                  <a:pt x="11049033" y="4377701"/>
                </a:cubicBezTo>
                <a:cubicBezTo>
                  <a:pt x="11049033" y="4453922"/>
                  <a:pt x="11044322" y="4529693"/>
                  <a:pt x="11035012" y="4604966"/>
                </a:cubicBezTo>
                <a:lnTo>
                  <a:pt x="11027206" y="4647043"/>
                </a:lnTo>
                <a:lnTo>
                  <a:pt x="0" y="4647043"/>
                </a:lnTo>
                <a:close/>
              </a:path>
            </a:pathLst>
          </a:custGeom>
        </p:spPr>
        <p:txBody>
          <a:bodyPr wrap="square" anchor="ctr" anchorCtr="1">
            <a:noAutofit/>
          </a:bodyPr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2" y="0"/>
            <a:ext cx="12192000" cy="15994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5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38564" y="1638256"/>
            <a:ext cx="9981040" cy="457238"/>
          </a:xfrm>
        </p:spPr>
        <p:txBody>
          <a:bodyPr/>
          <a:lstStyle>
            <a:lvl1pPr marL="0" indent="0" algn="l">
              <a:buNone/>
              <a:defRPr sz="1956" b="0" spc="21" baseline="0">
                <a:solidFill>
                  <a:schemeClr val="accent1"/>
                </a:solidFill>
              </a:defRPr>
            </a:lvl1pPr>
            <a:lvl2pPr marL="4836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67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509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34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18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01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8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69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2" y="0"/>
            <a:ext cx="12192000" cy="15994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5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7564" y="419089"/>
            <a:ext cx="2170250" cy="57191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38049" y="1181070"/>
            <a:ext cx="9981554" cy="457085"/>
          </a:xfrm>
        </p:spPr>
        <p:txBody>
          <a:bodyPr/>
          <a:lstStyle>
            <a:lvl1pPr>
              <a:defRPr sz="2644" spc="53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838222" y="2476433"/>
            <a:ext cx="4723602" cy="685936"/>
          </a:xfrm>
        </p:spPr>
        <p:txBody>
          <a:bodyPr/>
          <a:lstStyle>
            <a:lvl1pPr>
              <a:lnSpc>
                <a:spcPct val="100000"/>
              </a:lnSpc>
              <a:spcAft>
                <a:spcPts val="317"/>
              </a:spcAft>
              <a:buFontTx/>
              <a:buNone/>
              <a:defRPr sz="1376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832656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2" y="1599416"/>
            <a:ext cx="4952223" cy="575460"/>
          </a:xfrm>
        </p:spPr>
        <p:txBody>
          <a:bodyPr anchor="t" anchorCtr="0"/>
          <a:lstStyle>
            <a:lvl1pPr marL="0" indent="0">
              <a:buNone/>
              <a:defRPr sz="2487" b="1">
                <a:solidFill>
                  <a:schemeClr val="accent1"/>
                </a:solidFill>
              </a:defRPr>
            </a:lvl1pPr>
            <a:lvl2pPr marL="483666" indent="0">
              <a:buNone/>
              <a:defRPr sz="2115" b="1"/>
            </a:lvl2pPr>
            <a:lvl3pPr marL="967332" indent="0">
              <a:buNone/>
              <a:defRPr sz="1905" b="1"/>
            </a:lvl3pPr>
            <a:lvl4pPr marL="1450998" indent="0">
              <a:buNone/>
              <a:defRPr sz="1693" b="1"/>
            </a:lvl4pPr>
            <a:lvl5pPr marL="1934664" indent="0">
              <a:buNone/>
              <a:defRPr sz="1693" b="1"/>
            </a:lvl5pPr>
            <a:lvl6pPr marL="2418330" indent="0">
              <a:buNone/>
              <a:defRPr sz="1693" b="1"/>
            </a:lvl6pPr>
            <a:lvl7pPr marL="2901996" indent="0">
              <a:buNone/>
              <a:defRPr sz="1693" b="1"/>
            </a:lvl7pPr>
            <a:lvl8pPr marL="3385662" indent="0">
              <a:buNone/>
              <a:defRPr sz="1693" b="1"/>
            </a:lvl8pPr>
            <a:lvl9pPr marL="3869328" indent="0">
              <a:buNone/>
              <a:defRPr sz="1693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2" y="2174876"/>
            <a:ext cx="4952223" cy="4379034"/>
          </a:xfrm>
        </p:spPr>
        <p:txBody>
          <a:bodyPr/>
          <a:lstStyle>
            <a:lvl1pPr>
              <a:defRPr sz="2487"/>
            </a:lvl1pPr>
            <a:lvl2pPr>
              <a:defRPr sz="2115"/>
            </a:lvl2pPr>
            <a:lvl3pPr>
              <a:defRPr sz="1905"/>
            </a:lvl3pPr>
            <a:lvl4pPr>
              <a:defRPr sz="1693"/>
            </a:lvl4pPr>
            <a:lvl5pPr>
              <a:defRPr sz="1693"/>
            </a:lvl5pPr>
            <a:lvl6pPr>
              <a:defRPr sz="1693"/>
            </a:lvl6pPr>
            <a:lvl7pPr>
              <a:defRPr sz="1693"/>
            </a:lvl7pPr>
            <a:lvl8pPr>
              <a:defRPr sz="1693"/>
            </a:lvl8pPr>
            <a:lvl9pPr>
              <a:defRPr sz="1693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867549" y="1599416"/>
            <a:ext cx="4952054" cy="575460"/>
          </a:xfrm>
        </p:spPr>
        <p:txBody>
          <a:bodyPr anchor="t" anchorCtr="0"/>
          <a:lstStyle>
            <a:lvl1pPr marL="0" indent="0">
              <a:buNone/>
              <a:defRPr sz="2487" b="1">
                <a:solidFill>
                  <a:schemeClr val="accent1"/>
                </a:solidFill>
              </a:defRPr>
            </a:lvl1pPr>
            <a:lvl2pPr marL="483666" indent="0">
              <a:buNone/>
              <a:defRPr sz="2115" b="1"/>
            </a:lvl2pPr>
            <a:lvl3pPr marL="967332" indent="0">
              <a:buNone/>
              <a:defRPr sz="1905" b="1"/>
            </a:lvl3pPr>
            <a:lvl4pPr marL="1450998" indent="0">
              <a:buNone/>
              <a:defRPr sz="1693" b="1"/>
            </a:lvl4pPr>
            <a:lvl5pPr marL="1934664" indent="0">
              <a:buNone/>
              <a:defRPr sz="1693" b="1"/>
            </a:lvl5pPr>
            <a:lvl6pPr marL="2418330" indent="0">
              <a:buNone/>
              <a:defRPr sz="1693" b="1"/>
            </a:lvl6pPr>
            <a:lvl7pPr marL="2901996" indent="0">
              <a:buNone/>
              <a:defRPr sz="1693" b="1"/>
            </a:lvl7pPr>
            <a:lvl8pPr marL="3385662" indent="0">
              <a:buNone/>
              <a:defRPr sz="1693" b="1"/>
            </a:lvl8pPr>
            <a:lvl9pPr marL="3869328" indent="0">
              <a:buNone/>
              <a:defRPr sz="1693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867549" y="2174876"/>
            <a:ext cx="4952054" cy="4379034"/>
          </a:xfrm>
        </p:spPr>
        <p:txBody>
          <a:bodyPr/>
          <a:lstStyle>
            <a:lvl1pPr>
              <a:defRPr sz="2487"/>
            </a:lvl1pPr>
            <a:lvl2pPr>
              <a:defRPr sz="2115"/>
            </a:lvl2pPr>
            <a:lvl3pPr>
              <a:defRPr sz="1905"/>
            </a:lvl3pPr>
            <a:lvl4pPr>
              <a:defRPr sz="1693"/>
            </a:lvl4pPr>
            <a:lvl5pPr>
              <a:defRPr sz="1693"/>
            </a:lvl5pPr>
            <a:lvl6pPr>
              <a:defRPr sz="1693"/>
            </a:lvl6pPr>
            <a:lvl7pPr>
              <a:defRPr sz="1693"/>
            </a:lvl7pPr>
            <a:lvl8pPr>
              <a:defRPr sz="1693"/>
            </a:lvl8pPr>
            <a:lvl9pPr>
              <a:defRPr sz="1693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02.2022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trategische und konzeptionelle betriebswirtschaftliche Beratung sowie operative Projekt und Vorhabenunterstützung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351205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304745" y="2209278"/>
            <a:ext cx="11888869" cy="4647043"/>
          </a:xfrm>
        </p:spPr>
        <p:txBody>
          <a:bodyPr anchor="ctr" anchorCtr="1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1" y="0"/>
            <a:ext cx="12192000" cy="15994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5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38563" y="1638256"/>
            <a:ext cx="9981040" cy="457238"/>
          </a:xfrm>
        </p:spPr>
        <p:txBody>
          <a:bodyPr/>
          <a:lstStyle>
            <a:lvl1pPr marL="0" indent="0" algn="l">
              <a:buNone/>
              <a:defRPr sz="1957" b="0" spc="21" baseline="0">
                <a:solidFill>
                  <a:schemeClr val="accent1"/>
                </a:solidFill>
              </a:defRPr>
            </a:lvl1pPr>
            <a:lvl2pPr marL="4837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6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51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35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188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02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86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70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1" y="0"/>
            <a:ext cx="12192000" cy="15994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5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7564" y="419089"/>
            <a:ext cx="2170250" cy="57191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38049" y="1181069"/>
            <a:ext cx="9981554" cy="457085"/>
          </a:xfrm>
        </p:spPr>
        <p:txBody>
          <a:bodyPr/>
          <a:lstStyle>
            <a:lvl1pPr>
              <a:defRPr sz="2645" spc="53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09741"/>
            <a:ext cx="228345" cy="4646962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09741"/>
            <a:ext cx="228345" cy="4646962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838222" y="2476433"/>
            <a:ext cx="4723602" cy="685936"/>
          </a:xfrm>
        </p:spPr>
        <p:txBody>
          <a:bodyPr/>
          <a:lstStyle>
            <a:lvl1pPr>
              <a:lnSpc>
                <a:spcPct val="100000"/>
              </a:lnSpc>
              <a:spcAft>
                <a:spcPts val="317"/>
              </a:spcAft>
              <a:buFontTx/>
              <a:buNone/>
              <a:defRPr sz="1376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35"/>
              </a:spcAft>
              <a:buFontTx/>
              <a:buNone/>
              <a:defRPr sz="1376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1611704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52B5A-167D-4ED6-B7C9-BDA647A8BA51}" type="datetime1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Use Case Wüstenrot</a:t>
            </a:r>
          </a:p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609769" y="1599416"/>
            <a:ext cx="10209834" cy="495449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920310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782B8C6-A2A3-4B66-A839-DF7B16517350}" type="datetime1">
              <a:rPr lang="de-DE" smtClean="0"/>
              <a:t>18.09.2025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304745" y="0"/>
            <a:ext cx="11888869" cy="6857815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838563" y="1104870"/>
            <a:ext cx="9981040" cy="457238"/>
          </a:xfrm>
        </p:spPr>
        <p:txBody>
          <a:bodyPr/>
          <a:lstStyle>
            <a:lvl1pPr marL="0" indent="0" algn="l">
              <a:buNone/>
              <a:defRPr sz="1957" b="0" spc="21" baseline="0">
                <a:solidFill>
                  <a:schemeClr val="bg1"/>
                </a:solidFill>
              </a:defRPr>
            </a:lvl1pPr>
            <a:lvl2pPr marL="4837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6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51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35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188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02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86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70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838049" y="647683"/>
            <a:ext cx="9981554" cy="457085"/>
          </a:xfrm>
        </p:spPr>
        <p:txBody>
          <a:bodyPr/>
          <a:lstStyle>
            <a:lvl1pPr>
              <a:defRPr sz="2645" spc="53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8345" cy="6857220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1332709" y="419089"/>
            <a:ext cx="571397" cy="761979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46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8345" cy="6857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8942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D13A7-6296-4A54-8C64-66A02EB71342}" type="datetime1">
              <a:rPr lang="de-DE" smtClean="0"/>
              <a:t>18.09.202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Use Case Wüstenrot</a:t>
            </a:r>
          </a:p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609769" y="1599416"/>
            <a:ext cx="4952055" cy="495449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867548" y="1591557"/>
            <a:ext cx="4952055" cy="495449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4614325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1" y="1599416"/>
            <a:ext cx="4952223" cy="575460"/>
          </a:xfrm>
        </p:spPr>
        <p:txBody>
          <a:bodyPr anchor="t" anchorCtr="0"/>
          <a:lstStyle>
            <a:lvl1pPr marL="0" indent="0">
              <a:buNone/>
              <a:defRPr sz="2487" b="1">
                <a:solidFill>
                  <a:schemeClr val="accent1"/>
                </a:solidFill>
              </a:defRPr>
            </a:lvl1pPr>
            <a:lvl2pPr marL="483763" indent="0">
              <a:buNone/>
              <a:defRPr sz="2116" b="1"/>
            </a:lvl2pPr>
            <a:lvl3pPr marL="967527" indent="0">
              <a:buNone/>
              <a:defRPr sz="1905" b="1"/>
            </a:lvl3pPr>
            <a:lvl4pPr marL="1451290" indent="0">
              <a:buNone/>
              <a:defRPr sz="1693" b="1"/>
            </a:lvl4pPr>
            <a:lvl5pPr marL="1935053" indent="0">
              <a:buNone/>
              <a:defRPr sz="1693" b="1"/>
            </a:lvl5pPr>
            <a:lvl6pPr marL="2418817" indent="0">
              <a:buNone/>
              <a:defRPr sz="1693" b="1"/>
            </a:lvl6pPr>
            <a:lvl7pPr marL="2902580" indent="0">
              <a:buNone/>
              <a:defRPr sz="1693" b="1"/>
            </a:lvl7pPr>
            <a:lvl8pPr marL="3386343" indent="0">
              <a:buNone/>
              <a:defRPr sz="1693" b="1"/>
            </a:lvl8pPr>
            <a:lvl9pPr marL="3870107" indent="0">
              <a:buNone/>
              <a:defRPr sz="1693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1" y="2174876"/>
            <a:ext cx="4952223" cy="4379034"/>
          </a:xfrm>
        </p:spPr>
        <p:txBody>
          <a:bodyPr/>
          <a:lstStyle>
            <a:lvl1pPr>
              <a:defRPr sz="2487"/>
            </a:lvl1pPr>
            <a:lvl2pPr>
              <a:defRPr sz="2116"/>
            </a:lvl2pPr>
            <a:lvl3pPr>
              <a:defRPr sz="1905"/>
            </a:lvl3pPr>
            <a:lvl4pPr>
              <a:defRPr sz="1693"/>
            </a:lvl4pPr>
            <a:lvl5pPr>
              <a:defRPr sz="1693"/>
            </a:lvl5pPr>
            <a:lvl6pPr>
              <a:defRPr sz="1693"/>
            </a:lvl6pPr>
            <a:lvl7pPr>
              <a:defRPr sz="1693"/>
            </a:lvl7pPr>
            <a:lvl8pPr>
              <a:defRPr sz="1693"/>
            </a:lvl8pPr>
            <a:lvl9pPr>
              <a:defRPr sz="1693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867549" y="1599416"/>
            <a:ext cx="4952054" cy="575460"/>
          </a:xfrm>
        </p:spPr>
        <p:txBody>
          <a:bodyPr anchor="t" anchorCtr="0"/>
          <a:lstStyle>
            <a:lvl1pPr marL="0" indent="0">
              <a:buNone/>
              <a:defRPr sz="2487" b="1">
                <a:solidFill>
                  <a:schemeClr val="accent1"/>
                </a:solidFill>
              </a:defRPr>
            </a:lvl1pPr>
            <a:lvl2pPr marL="483763" indent="0">
              <a:buNone/>
              <a:defRPr sz="2116" b="1"/>
            </a:lvl2pPr>
            <a:lvl3pPr marL="967527" indent="0">
              <a:buNone/>
              <a:defRPr sz="1905" b="1"/>
            </a:lvl3pPr>
            <a:lvl4pPr marL="1451290" indent="0">
              <a:buNone/>
              <a:defRPr sz="1693" b="1"/>
            </a:lvl4pPr>
            <a:lvl5pPr marL="1935053" indent="0">
              <a:buNone/>
              <a:defRPr sz="1693" b="1"/>
            </a:lvl5pPr>
            <a:lvl6pPr marL="2418817" indent="0">
              <a:buNone/>
              <a:defRPr sz="1693" b="1"/>
            </a:lvl6pPr>
            <a:lvl7pPr marL="2902580" indent="0">
              <a:buNone/>
              <a:defRPr sz="1693" b="1"/>
            </a:lvl7pPr>
            <a:lvl8pPr marL="3386343" indent="0">
              <a:buNone/>
              <a:defRPr sz="1693" b="1"/>
            </a:lvl8pPr>
            <a:lvl9pPr marL="3870107" indent="0">
              <a:buNone/>
              <a:defRPr sz="1693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867549" y="2174876"/>
            <a:ext cx="4952054" cy="4379034"/>
          </a:xfrm>
        </p:spPr>
        <p:txBody>
          <a:bodyPr/>
          <a:lstStyle>
            <a:lvl1pPr>
              <a:defRPr sz="2487"/>
            </a:lvl1pPr>
            <a:lvl2pPr>
              <a:defRPr sz="2116"/>
            </a:lvl2pPr>
            <a:lvl3pPr>
              <a:defRPr sz="1905"/>
            </a:lvl3pPr>
            <a:lvl4pPr>
              <a:defRPr sz="1693"/>
            </a:lvl4pPr>
            <a:lvl5pPr>
              <a:defRPr sz="1693"/>
            </a:lvl5pPr>
            <a:lvl6pPr>
              <a:defRPr sz="1693"/>
            </a:lvl6pPr>
            <a:lvl7pPr>
              <a:defRPr sz="1693"/>
            </a:lvl7pPr>
            <a:lvl8pPr>
              <a:defRPr sz="1693"/>
            </a:lvl8pPr>
            <a:lvl9pPr>
              <a:defRPr sz="1693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E8129-6AB0-4316-89DD-05AD9ABD1F9D}" type="datetime1">
              <a:rPr lang="de-DE" smtClean="0"/>
              <a:t>18.09.2025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Use Case Wüstenrot</a:t>
            </a:r>
          </a:p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7443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0AE75-8AA0-449D-989F-B1E818A5B67A}" type="datetime1">
              <a:rPr lang="de-DE" smtClean="0"/>
              <a:t>18.09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Use Case Wüstenrot</a:t>
            </a:r>
          </a:p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6743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DFCF3-BE16-49B1-A4AA-F5C18F2E6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95F587-C92E-465D-B9BA-BA96D0702B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5B925A-7E56-4B7E-9C4D-B2A190B971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BA3B53B-C837-4ED5-AA8F-8176EF5FC7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C84A4DF-B4E9-433E-A201-B5CFD5406D1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E0E8703-73A8-472A-B8D9-A64B61B233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A08BC-E657-4814-B08A-5C6570A6729B}" type="datetimeFigureOut">
              <a:rPr lang="de-DE" smtClean="0"/>
              <a:t>18.09.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49F08AE-AA64-45AC-B94F-0FDDDD4354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0535440-81D8-4681-B3FB-DD68F81D2F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C4755C-D49C-4E8E-BF76-9D21D2BB75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870903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D07A7-0ED1-4138-9FBD-0F4825E4365D}" type="datetime1">
              <a:rPr lang="de-DE" smtClean="0"/>
              <a:t>18.09.202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Use Case Fraud </a:t>
            </a:r>
            <a:r>
              <a:rPr lang="de-DE" err="1"/>
              <a:t>Detection</a:t>
            </a:r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35083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43ADA-15EC-46F2-B124-7B3EABB341FC}" type="datetime1">
              <a:rPr lang="de-DE" smtClean="0"/>
              <a:t>18.09.202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Use Case Fraud </a:t>
            </a:r>
            <a:r>
              <a:rPr lang="de-DE" err="1"/>
              <a:t>Detection</a:t>
            </a:r>
            <a:endParaRPr lang="de-DE"/>
          </a:p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609770" y="1608332"/>
            <a:ext cx="7619683" cy="495449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609977" y="685569"/>
            <a:ext cx="10209625" cy="73206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535070" y="1599417"/>
            <a:ext cx="3660751" cy="5258583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905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905">
                <a:latin typeface="+mn-lt"/>
              </a:defRPr>
            </a:lvl2pPr>
            <a:lvl3pPr marL="152366" indent="-152366">
              <a:lnSpc>
                <a:spcPct val="120000"/>
              </a:lnSpc>
              <a:spcAft>
                <a:spcPts val="0"/>
              </a:spcAft>
              <a:defRPr sz="1905">
                <a:latin typeface="+mn-lt"/>
              </a:defRPr>
            </a:lvl3pPr>
            <a:lvl4pPr marL="152366" indent="-152366">
              <a:lnSpc>
                <a:spcPct val="120000"/>
              </a:lnSpc>
              <a:spcAft>
                <a:spcPts val="0"/>
              </a:spcAft>
              <a:defRPr sz="1693">
                <a:latin typeface="+mn-lt"/>
              </a:defRPr>
            </a:lvl4pPr>
            <a:lvl5pPr marL="304733" indent="-152366">
              <a:lnSpc>
                <a:spcPct val="120000"/>
              </a:lnSpc>
              <a:spcAft>
                <a:spcPts val="0"/>
              </a:spcAft>
              <a:defRPr sz="1481"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8967312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609768" y="1599415"/>
            <a:ext cx="11047010" cy="4648074"/>
          </a:xfrm>
        </p:spPr>
        <p:txBody>
          <a:bodyPr/>
          <a:lstStyle>
            <a:lvl1pPr marL="0" indent="0">
              <a:buNone/>
              <a:defRPr sz="3386"/>
            </a:lvl1pPr>
            <a:lvl2pPr marL="483763" indent="0">
              <a:buNone/>
              <a:defRPr sz="2963"/>
            </a:lvl2pPr>
            <a:lvl3pPr marL="967527" indent="0">
              <a:buNone/>
              <a:defRPr sz="2539"/>
            </a:lvl3pPr>
            <a:lvl4pPr marL="1451290" indent="0">
              <a:buNone/>
              <a:defRPr sz="2116"/>
            </a:lvl4pPr>
            <a:lvl5pPr marL="1935053" indent="0">
              <a:buNone/>
              <a:defRPr sz="2116"/>
            </a:lvl5pPr>
            <a:lvl6pPr marL="2418817" indent="0">
              <a:buNone/>
              <a:defRPr sz="2116"/>
            </a:lvl6pPr>
            <a:lvl7pPr marL="2902580" indent="0">
              <a:buNone/>
              <a:defRPr sz="2116"/>
            </a:lvl7pPr>
            <a:lvl8pPr marL="3386343" indent="0">
              <a:buNone/>
              <a:defRPr sz="2116"/>
            </a:lvl8pPr>
            <a:lvl9pPr marL="3870107" indent="0">
              <a:buNone/>
              <a:defRPr sz="2116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768" y="6248636"/>
            <a:ext cx="11047010" cy="424061"/>
          </a:xfrm>
        </p:spPr>
        <p:txBody>
          <a:bodyPr anchor="b" anchorCtr="0"/>
          <a:lstStyle>
            <a:lvl1pPr marL="0" indent="0">
              <a:buNone/>
              <a:defRPr sz="2116" b="0"/>
            </a:lvl1pPr>
            <a:lvl2pPr marL="483763" indent="0">
              <a:buNone/>
              <a:defRPr sz="1270"/>
            </a:lvl2pPr>
            <a:lvl3pPr marL="967527" indent="0">
              <a:buNone/>
              <a:defRPr sz="1058"/>
            </a:lvl3pPr>
            <a:lvl4pPr marL="1451290" indent="0">
              <a:buNone/>
              <a:defRPr sz="952"/>
            </a:lvl4pPr>
            <a:lvl5pPr marL="1935053" indent="0">
              <a:buNone/>
              <a:defRPr sz="952"/>
            </a:lvl5pPr>
            <a:lvl6pPr marL="2418817" indent="0">
              <a:buNone/>
              <a:defRPr sz="952"/>
            </a:lvl6pPr>
            <a:lvl7pPr marL="2902580" indent="0">
              <a:buNone/>
              <a:defRPr sz="952"/>
            </a:lvl7pPr>
            <a:lvl8pPr marL="3386343" indent="0">
              <a:buNone/>
              <a:defRPr sz="952"/>
            </a:lvl8pPr>
            <a:lvl9pPr marL="3870107" indent="0">
              <a:buNone/>
              <a:defRPr sz="952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16289-DF57-4F0A-9158-80987495B444}" type="datetime1">
              <a:rPr lang="de-DE" smtClean="0"/>
              <a:t>18.09.202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Use Case Fraud </a:t>
            </a:r>
            <a:r>
              <a:rPr lang="de-DE" err="1"/>
              <a:t>Detection</a:t>
            </a:r>
            <a:endParaRPr lang="de-DE"/>
          </a:p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09977" y="685569"/>
            <a:ext cx="10209625" cy="73206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62060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23B96D-9616-4176-AEF6-AF1317711023}" type="datetime1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393438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819603" y="1599416"/>
            <a:ext cx="838220" cy="4954494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599416"/>
            <a:ext cx="10210002" cy="4954494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71886E-8C9D-4E97-9EB5-D99BA89A8533}" type="datetime1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73995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BF69B3-62E3-4AF4-971E-1AB7F9FB69DD}" type="datetime1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2826" y="419087"/>
            <a:ext cx="571155" cy="761979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609490" y="419089"/>
            <a:ext cx="10208961" cy="228594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203978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8127A-2E85-486B-8AA5-E90E3CCEC0E9}" type="datetime1">
              <a:rPr lang="de-DE" smtClean="0"/>
              <a:t>18.09.202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609769" y="1599416"/>
            <a:ext cx="3809790" cy="495449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723629" y="1599416"/>
            <a:ext cx="3809790" cy="495449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837610" y="1599417"/>
            <a:ext cx="1981992" cy="4954494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905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905">
                <a:latin typeface="+mn-lt"/>
              </a:defRPr>
            </a:lvl2pPr>
            <a:lvl3pPr marL="152366" indent="-152366">
              <a:lnSpc>
                <a:spcPct val="120000"/>
              </a:lnSpc>
              <a:spcAft>
                <a:spcPts val="0"/>
              </a:spcAft>
              <a:defRPr sz="1905">
                <a:latin typeface="+mn-lt"/>
              </a:defRPr>
            </a:lvl3pPr>
            <a:lvl4pPr marL="152366" indent="-152366">
              <a:lnSpc>
                <a:spcPct val="120000"/>
              </a:lnSpc>
              <a:spcAft>
                <a:spcPts val="0"/>
              </a:spcAft>
              <a:defRPr sz="1693">
                <a:latin typeface="+mn-lt"/>
              </a:defRPr>
            </a:lvl4pPr>
            <a:lvl5pPr marL="304733" indent="-152366">
              <a:lnSpc>
                <a:spcPct val="120000"/>
              </a:lnSpc>
              <a:spcAft>
                <a:spcPts val="0"/>
              </a:spcAft>
              <a:defRPr sz="1481"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313837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9311623" y="419089"/>
            <a:ext cx="2496192" cy="571918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3304" y="381375"/>
            <a:ext cx="8914785" cy="609633"/>
          </a:xfrm>
          <a:solidFill>
            <a:schemeClr val="bg1"/>
          </a:solidFill>
        </p:spPr>
        <p:txBody>
          <a:bodyPr lIns="288000" tIns="108000"/>
          <a:lstStyle>
            <a:lvl1pPr>
              <a:defRPr sz="2645" spc="53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09741"/>
            <a:ext cx="228345" cy="4646962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38563" y="1371564"/>
            <a:ext cx="6094902" cy="647861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17"/>
              </a:spcAft>
              <a:buNone/>
              <a:defRPr sz="1376" b="1" spc="21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17"/>
              </a:spcAft>
              <a:buNone/>
              <a:defRPr sz="1376">
                <a:solidFill>
                  <a:schemeClr val="accent1"/>
                </a:solidFill>
              </a:defRPr>
            </a:lvl2pPr>
            <a:lvl3pPr marL="96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51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35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188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02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86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70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9311623" y="419089"/>
            <a:ext cx="2496192" cy="571918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09741"/>
            <a:ext cx="228345" cy="4646962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304745" y="2209278"/>
            <a:ext cx="11888869" cy="4647043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4FEDFCE-8709-4D76-8036-EE5278C2237F}" type="datetime1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84592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279D30-A029-4395-8BBD-FD9BDCF470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2291E29-54AE-4FAB-B2D2-457C21E1CE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A08BC-E657-4814-B08A-5C6570A6729B}" type="datetimeFigureOut">
              <a:rPr lang="de-DE" smtClean="0"/>
              <a:t>18.09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9F4B9A7-AFE6-4AB2-8FC8-CE55D08DB8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CE36AA1-93B4-4858-B5FE-271ECCDD9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C4755C-D49C-4E8E-BF76-9D21D2BB75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24916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943366A-3441-470E-BFA3-264EC8F3D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A08BC-E657-4814-B08A-5C6570A6729B}" type="datetimeFigureOut">
              <a:rPr lang="de-DE" smtClean="0"/>
              <a:t>18.09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C7E06C0-7543-43E7-B471-A860FB83F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52BFC3-89F1-4C62-8F13-A25FF74586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C4755C-D49C-4E8E-BF76-9D21D2BB75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83092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3C3513-75F3-4EEC-86DB-B98EAA920F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784AB85-6806-48BB-8520-CA7078E317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DF4181E-2C55-4B62-BBF7-2341D69032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873713E-84CE-4B1C-9F3B-762F50D87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A08BC-E657-4814-B08A-5C6570A6729B}" type="datetimeFigureOut">
              <a:rPr lang="de-DE" smtClean="0"/>
              <a:t>18.09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903ACD-9144-4E0C-8F4D-EA4E69B88F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FE87E0C-5E24-4A19-AD65-30E02F9C2D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C4755C-D49C-4E8E-BF76-9D21D2BB75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85224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EE4444-250D-4145-A9A7-32F384E35D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D7C19FA1-8EAC-458B-B8A0-45BAF097D64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DD33D37-2CEC-475A-8D07-6BBB14417B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95F4ED2-633A-49EA-9B56-71E9D4CF3B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A08BC-E657-4814-B08A-5C6570A6729B}" type="datetimeFigureOut">
              <a:rPr lang="de-DE" smtClean="0"/>
              <a:t>18.09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6B23D51-9C80-4B28-A5C4-4D826A8921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AAA9958-A132-4647-921F-0657ACA3F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C4755C-D49C-4E8E-BF76-9D21D2BB75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9344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21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image" Target="../media/image3.w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0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37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image" Target="../media/image3.w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6.xml"/><Relationship Id="rId21" Type="http://schemas.openxmlformats.org/officeDocument/2006/relationships/image" Target="../media/image4.wmf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45.xml"/><Relationship Id="rId16" Type="http://schemas.openxmlformats.org/officeDocument/2006/relationships/tags" Target="../tags/tag3.xml"/><Relationship Id="rId20" Type="http://schemas.openxmlformats.org/officeDocument/2006/relationships/image" Target="../media/image3.w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3.xml"/><Relationship Id="rId19" Type="http://schemas.openxmlformats.org/officeDocument/2006/relationships/image" Target="../media/image2.wmf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B379D43-F56C-4734-AFED-AFC2B82A6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2E65453-78C7-4824-BD94-E469A825F0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4079F6B-B16C-44FE-BD0E-5952922F17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0A08BC-E657-4814-B08A-5C6570A6729B}" type="datetimeFigureOut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4A8239C-0E45-4CC2-9964-68DA4DA399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6DC0975-2F0C-4A16-AC8E-AE2123C7A9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C4755C-D49C-4E8E-BF76-9D21D2BB75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5481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39CA1D3-678A-407C-BAD5-A459B8A115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806230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9" imgW="473" imgH="473" progId="TCLayout.ActiveDocument.1">
                  <p:embed/>
                </p:oleObj>
              </mc:Choice>
              <mc:Fallback>
                <p:oleObj name="think-cell Folie" r:id="rId19" imgW="473" imgH="47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39CA1D3-678A-407C-BAD5-A459B8A115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978" y="685570"/>
            <a:ext cx="10209624" cy="732069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490" y="1599416"/>
            <a:ext cx="10208961" cy="49544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71376" y="381374"/>
            <a:ext cx="875629" cy="228594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99">
                <a:solidFill>
                  <a:schemeClr val="accent1"/>
                </a:solidFill>
              </a:defRPr>
            </a:lvl1pPr>
          </a:lstStyle>
          <a:p>
            <a:fld id="{9A66DF6E-E015-E141-AB9E-B1482057E4CE}" type="datetime1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80843" y="381374"/>
            <a:ext cx="8837608" cy="228594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99" spc="32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09490" y="381374"/>
            <a:ext cx="304745" cy="228594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99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6324" y="423945"/>
            <a:ext cx="571396" cy="76198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609490" y="647683"/>
            <a:ext cx="1020896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>
            <a:off x="609490" y="647683"/>
            <a:ext cx="1020896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>
          <a:xfrm>
            <a:off x="914235" y="419089"/>
            <a:ext cx="0" cy="152396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866564" y="419089"/>
            <a:ext cx="0" cy="152396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8156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/>
  <p:txStyles>
    <p:titleStyle>
      <a:lvl1pPr algn="l" defTabSz="957103" rtl="0" eaLnBrk="1" latinLnBrk="0" hangingPunct="1">
        <a:lnSpc>
          <a:spcPct val="100000"/>
        </a:lnSpc>
        <a:spcBef>
          <a:spcPct val="0"/>
        </a:spcBef>
        <a:buNone/>
        <a:defRPr sz="2198" kern="1200" spc="105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57103" rtl="0" eaLnBrk="1" latinLnBrk="0" hangingPunct="1">
        <a:lnSpc>
          <a:spcPct val="120000"/>
        </a:lnSpc>
        <a:spcBef>
          <a:spcPts val="628"/>
        </a:spcBef>
        <a:spcAft>
          <a:spcPts val="0"/>
        </a:spcAft>
        <a:buFontTx/>
        <a:buNone/>
        <a:defRPr sz="2512" b="1" kern="1200" spc="-21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57103" rtl="0" eaLnBrk="1" latinLnBrk="0" hangingPunct="1">
        <a:lnSpc>
          <a:spcPct val="120000"/>
        </a:lnSpc>
        <a:spcBef>
          <a:spcPts val="628"/>
        </a:spcBef>
        <a:spcAft>
          <a:spcPts val="0"/>
        </a:spcAft>
        <a:buFontTx/>
        <a:buNone/>
        <a:defRPr sz="2512" kern="1200" spc="-21" baseline="0">
          <a:solidFill>
            <a:schemeClr val="bg2"/>
          </a:solidFill>
          <a:latin typeface="+mn-lt"/>
          <a:ea typeface="+mn-ea"/>
          <a:cs typeface="+mn-cs"/>
        </a:defRPr>
      </a:lvl2pPr>
      <a:lvl3pPr marL="263769" indent="-263769" algn="l" defTabSz="957103" rtl="0" eaLnBrk="1" latinLnBrk="0" hangingPunct="1">
        <a:lnSpc>
          <a:spcPct val="110000"/>
        </a:lnSpc>
        <a:spcBef>
          <a:spcPts val="628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512" kern="1200" spc="-21" baseline="0">
          <a:solidFill>
            <a:schemeClr val="bg2"/>
          </a:solidFill>
          <a:latin typeface="+mn-lt"/>
          <a:ea typeface="+mn-ea"/>
          <a:cs typeface="+mn-cs"/>
        </a:defRPr>
      </a:lvl3pPr>
      <a:lvl4pPr marL="452175" indent="-188406" algn="l" defTabSz="957103" rtl="0" eaLnBrk="1" latinLnBrk="0" hangingPunct="1">
        <a:lnSpc>
          <a:spcPct val="120000"/>
        </a:lnSpc>
        <a:spcBef>
          <a:spcPts val="628"/>
        </a:spcBef>
        <a:spcAft>
          <a:spcPts val="0"/>
        </a:spcAft>
        <a:buFontTx/>
        <a:buBlip>
          <a:blip r:embed="rId23"/>
        </a:buBlip>
        <a:defRPr sz="2303" kern="1200" spc="-21" baseline="0">
          <a:solidFill>
            <a:schemeClr val="bg2"/>
          </a:solidFill>
          <a:latin typeface="+mn-lt"/>
          <a:ea typeface="+mn-ea"/>
          <a:cs typeface="+mn-cs"/>
        </a:defRPr>
      </a:lvl4pPr>
      <a:lvl5pPr marL="678262" indent="-188406" algn="l" defTabSz="957103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94" kern="1200" spc="-21" baseline="0">
          <a:solidFill>
            <a:schemeClr val="bg2"/>
          </a:solidFill>
          <a:latin typeface="+mn-lt"/>
          <a:ea typeface="+mn-ea"/>
          <a:cs typeface="+mn-cs"/>
        </a:defRPr>
      </a:lvl5pPr>
      <a:lvl6pPr marL="2632032" indent="-239276" algn="l" defTabSz="95710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94" kern="1200">
          <a:solidFill>
            <a:schemeClr val="tx1"/>
          </a:solidFill>
          <a:latin typeface="+mn-lt"/>
          <a:ea typeface="+mn-ea"/>
          <a:cs typeface="+mn-cs"/>
        </a:defRPr>
      </a:lvl6pPr>
      <a:lvl7pPr marL="3110583" indent="-239276" algn="l" defTabSz="95710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94" kern="1200">
          <a:solidFill>
            <a:schemeClr val="tx1"/>
          </a:solidFill>
          <a:latin typeface="+mn-lt"/>
          <a:ea typeface="+mn-ea"/>
          <a:cs typeface="+mn-cs"/>
        </a:defRPr>
      </a:lvl7pPr>
      <a:lvl8pPr marL="3589135" indent="-239276" algn="l" defTabSz="95710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94" kern="1200">
          <a:solidFill>
            <a:schemeClr val="tx1"/>
          </a:solidFill>
          <a:latin typeface="+mn-lt"/>
          <a:ea typeface="+mn-ea"/>
          <a:cs typeface="+mn-cs"/>
        </a:defRPr>
      </a:lvl8pPr>
      <a:lvl9pPr marL="4067686" indent="-239276" algn="l" defTabSz="95710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9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57103" rtl="0" eaLnBrk="1" latinLnBrk="0" hangingPunct="1">
        <a:defRPr sz="1884" kern="1200">
          <a:solidFill>
            <a:schemeClr val="tx1"/>
          </a:solidFill>
          <a:latin typeface="+mn-lt"/>
          <a:ea typeface="+mn-ea"/>
          <a:cs typeface="+mn-cs"/>
        </a:defRPr>
      </a:lvl1pPr>
      <a:lvl2pPr marL="478551" algn="l" defTabSz="957103" rtl="0" eaLnBrk="1" latinLnBrk="0" hangingPunct="1">
        <a:defRPr sz="1884" kern="1200">
          <a:solidFill>
            <a:schemeClr val="tx1"/>
          </a:solidFill>
          <a:latin typeface="+mn-lt"/>
          <a:ea typeface="+mn-ea"/>
          <a:cs typeface="+mn-cs"/>
        </a:defRPr>
      </a:lvl2pPr>
      <a:lvl3pPr marL="957103" algn="l" defTabSz="957103" rtl="0" eaLnBrk="1" latinLnBrk="0" hangingPunct="1">
        <a:defRPr sz="1884" kern="1200">
          <a:solidFill>
            <a:schemeClr val="tx1"/>
          </a:solidFill>
          <a:latin typeface="+mn-lt"/>
          <a:ea typeface="+mn-ea"/>
          <a:cs typeface="+mn-cs"/>
        </a:defRPr>
      </a:lvl3pPr>
      <a:lvl4pPr marL="1435654" algn="l" defTabSz="957103" rtl="0" eaLnBrk="1" latinLnBrk="0" hangingPunct="1">
        <a:defRPr sz="1884" kern="1200">
          <a:solidFill>
            <a:schemeClr val="tx1"/>
          </a:solidFill>
          <a:latin typeface="+mn-lt"/>
          <a:ea typeface="+mn-ea"/>
          <a:cs typeface="+mn-cs"/>
        </a:defRPr>
      </a:lvl4pPr>
      <a:lvl5pPr marL="1914205" algn="l" defTabSz="957103" rtl="0" eaLnBrk="1" latinLnBrk="0" hangingPunct="1">
        <a:defRPr sz="1884" kern="1200">
          <a:solidFill>
            <a:schemeClr val="tx1"/>
          </a:solidFill>
          <a:latin typeface="+mn-lt"/>
          <a:ea typeface="+mn-ea"/>
          <a:cs typeface="+mn-cs"/>
        </a:defRPr>
      </a:lvl5pPr>
      <a:lvl6pPr marL="2392756" algn="l" defTabSz="957103" rtl="0" eaLnBrk="1" latinLnBrk="0" hangingPunct="1">
        <a:defRPr sz="1884" kern="1200">
          <a:solidFill>
            <a:schemeClr val="tx1"/>
          </a:solidFill>
          <a:latin typeface="+mn-lt"/>
          <a:ea typeface="+mn-ea"/>
          <a:cs typeface="+mn-cs"/>
        </a:defRPr>
      </a:lvl6pPr>
      <a:lvl7pPr marL="2871308" algn="l" defTabSz="957103" rtl="0" eaLnBrk="1" latinLnBrk="0" hangingPunct="1">
        <a:defRPr sz="1884" kern="1200">
          <a:solidFill>
            <a:schemeClr val="tx1"/>
          </a:solidFill>
          <a:latin typeface="+mn-lt"/>
          <a:ea typeface="+mn-ea"/>
          <a:cs typeface="+mn-cs"/>
        </a:defRPr>
      </a:lvl7pPr>
      <a:lvl8pPr marL="3349859" algn="l" defTabSz="957103" rtl="0" eaLnBrk="1" latinLnBrk="0" hangingPunct="1">
        <a:defRPr sz="1884" kern="1200">
          <a:solidFill>
            <a:schemeClr val="tx1"/>
          </a:solidFill>
          <a:latin typeface="+mn-lt"/>
          <a:ea typeface="+mn-ea"/>
          <a:cs typeface="+mn-cs"/>
        </a:defRPr>
      </a:lvl8pPr>
      <a:lvl9pPr marL="3828410" algn="l" defTabSz="957103" rtl="0" eaLnBrk="1" latinLnBrk="0" hangingPunct="1">
        <a:defRPr sz="18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39CA1D3-678A-407C-BAD5-A459B8A115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806230500"/>
              </p:ext>
            </p:extLst>
          </p:nvPr>
        </p:nvGraphicFramePr>
        <p:xfrm>
          <a:off x="1589" y="1588"/>
          <a:ext cx="1588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9" imgW="473" imgH="473" progId="TCLayout.ActiveDocument.1">
                  <p:embed/>
                </p:oleObj>
              </mc:Choice>
              <mc:Fallback>
                <p:oleObj name="think-cell Folie" r:id="rId19" imgW="473" imgH="47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39CA1D3-678A-407C-BAD5-A459B8A115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978" y="685571"/>
            <a:ext cx="10209624" cy="732069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490" y="1599416"/>
            <a:ext cx="10208961" cy="49544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71377" y="381374"/>
            <a:ext cx="875629" cy="228594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98">
                <a:solidFill>
                  <a:schemeClr val="accent1"/>
                </a:solidFill>
              </a:defRPr>
            </a:lvl1pPr>
          </a:lstStyle>
          <a:p>
            <a:fld id="{9A66DF6E-E015-E141-AB9E-B1482057E4CE}" type="datetime1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80843" y="381374"/>
            <a:ext cx="8837608" cy="228594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98" spc="32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09490" y="381374"/>
            <a:ext cx="304745" cy="228594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98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6325" y="423946"/>
            <a:ext cx="571396" cy="76198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609490" y="647683"/>
            <a:ext cx="1020896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>
            <a:off x="609490" y="647683"/>
            <a:ext cx="1020896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>
          <a:xfrm>
            <a:off x="914235" y="419089"/>
            <a:ext cx="0" cy="152396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866564" y="419089"/>
            <a:ext cx="0" cy="152396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225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</p:sldLayoutIdLst>
  <p:hf hdr="0"/>
  <p:txStyles>
    <p:titleStyle>
      <a:lvl1pPr algn="l" defTabSz="956911" rtl="0" eaLnBrk="1" latinLnBrk="0" hangingPunct="1">
        <a:lnSpc>
          <a:spcPct val="100000"/>
        </a:lnSpc>
        <a:spcBef>
          <a:spcPct val="0"/>
        </a:spcBef>
        <a:buNone/>
        <a:defRPr sz="2198" kern="1200" spc="105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56911" rtl="0" eaLnBrk="1" latinLnBrk="0" hangingPunct="1">
        <a:lnSpc>
          <a:spcPct val="120000"/>
        </a:lnSpc>
        <a:spcBef>
          <a:spcPts val="627"/>
        </a:spcBef>
        <a:spcAft>
          <a:spcPts val="0"/>
        </a:spcAft>
        <a:buFontTx/>
        <a:buNone/>
        <a:defRPr sz="2512" b="1" kern="1200" spc="-21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56911" rtl="0" eaLnBrk="1" latinLnBrk="0" hangingPunct="1">
        <a:lnSpc>
          <a:spcPct val="120000"/>
        </a:lnSpc>
        <a:spcBef>
          <a:spcPts val="627"/>
        </a:spcBef>
        <a:spcAft>
          <a:spcPts val="0"/>
        </a:spcAft>
        <a:buFontTx/>
        <a:buNone/>
        <a:defRPr sz="2512" kern="1200" spc="-21" baseline="0">
          <a:solidFill>
            <a:schemeClr val="bg2"/>
          </a:solidFill>
          <a:latin typeface="+mn-lt"/>
          <a:ea typeface="+mn-ea"/>
          <a:cs typeface="+mn-cs"/>
        </a:defRPr>
      </a:lvl2pPr>
      <a:lvl3pPr marL="263716" indent="-263716" algn="l" defTabSz="956911" rtl="0" eaLnBrk="1" latinLnBrk="0" hangingPunct="1">
        <a:lnSpc>
          <a:spcPct val="110000"/>
        </a:lnSpc>
        <a:spcBef>
          <a:spcPts val="627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512" kern="1200" spc="-21" baseline="0">
          <a:solidFill>
            <a:schemeClr val="bg2"/>
          </a:solidFill>
          <a:latin typeface="+mn-lt"/>
          <a:ea typeface="+mn-ea"/>
          <a:cs typeface="+mn-cs"/>
        </a:defRPr>
      </a:lvl3pPr>
      <a:lvl4pPr marL="452084" indent="-188368" algn="l" defTabSz="956911" rtl="0" eaLnBrk="1" latinLnBrk="0" hangingPunct="1">
        <a:lnSpc>
          <a:spcPct val="120000"/>
        </a:lnSpc>
        <a:spcBef>
          <a:spcPts val="627"/>
        </a:spcBef>
        <a:spcAft>
          <a:spcPts val="0"/>
        </a:spcAft>
        <a:buFontTx/>
        <a:buBlip>
          <a:blip r:embed="rId23"/>
        </a:buBlip>
        <a:defRPr sz="2302" kern="1200" spc="-21" baseline="0">
          <a:solidFill>
            <a:schemeClr val="bg2"/>
          </a:solidFill>
          <a:latin typeface="+mn-lt"/>
          <a:ea typeface="+mn-ea"/>
          <a:cs typeface="+mn-cs"/>
        </a:defRPr>
      </a:lvl4pPr>
      <a:lvl5pPr marL="678126" indent="-188368" algn="l" defTabSz="956911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94" kern="1200" spc="-21" baseline="0">
          <a:solidFill>
            <a:schemeClr val="bg2"/>
          </a:solidFill>
          <a:latin typeface="+mn-lt"/>
          <a:ea typeface="+mn-ea"/>
          <a:cs typeface="+mn-cs"/>
        </a:defRPr>
      </a:lvl5pPr>
      <a:lvl6pPr marL="2631502" indent="-239228" algn="l" defTabSz="95691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94" kern="1200">
          <a:solidFill>
            <a:schemeClr val="tx1"/>
          </a:solidFill>
          <a:latin typeface="+mn-lt"/>
          <a:ea typeface="+mn-ea"/>
          <a:cs typeface="+mn-cs"/>
        </a:defRPr>
      </a:lvl6pPr>
      <a:lvl7pPr marL="3109957" indent="-239228" algn="l" defTabSz="95691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94" kern="1200">
          <a:solidFill>
            <a:schemeClr val="tx1"/>
          </a:solidFill>
          <a:latin typeface="+mn-lt"/>
          <a:ea typeface="+mn-ea"/>
          <a:cs typeface="+mn-cs"/>
        </a:defRPr>
      </a:lvl7pPr>
      <a:lvl8pPr marL="3588413" indent="-239228" algn="l" defTabSz="95691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94" kern="1200">
          <a:solidFill>
            <a:schemeClr val="tx1"/>
          </a:solidFill>
          <a:latin typeface="+mn-lt"/>
          <a:ea typeface="+mn-ea"/>
          <a:cs typeface="+mn-cs"/>
        </a:defRPr>
      </a:lvl8pPr>
      <a:lvl9pPr marL="4066868" indent="-239228" algn="l" defTabSz="95691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9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56911" rtl="0" eaLnBrk="1" latinLnBrk="0" hangingPunct="1">
        <a:defRPr sz="1883" kern="1200">
          <a:solidFill>
            <a:schemeClr val="tx1"/>
          </a:solidFill>
          <a:latin typeface="+mn-lt"/>
          <a:ea typeface="+mn-ea"/>
          <a:cs typeface="+mn-cs"/>
        </a:defRPr>
      </a:lvl1pPr>
      <a:lvl2pPr marL="478455" algn="l" defTabSz="956911" rtl="0" eaLnBrk="1" latinLnBrk="0" hangingPunct="1">
        <a:defRPr sz="1883" kern="1200">
          <a:solidFill>
            <a:schemeClr val="tx1"/>
          </a:solidFill>
          <a:latin typeface="+mn-lt"/>
          <a:ea typeface="+mn-ea"/>
          <a:cs typeface="+mn-cs"/>
        </a:defRPr>
      </a:lvl2pPr>
      <a:lvl3pPr marL="956911" algn="l" defTabSz="956911" rtl="0" eaLnBrk="1" latinLnBrk="0" hangingPunct="1">
        <a:defRPr sz="1883" kern="1200">
          <a:solidFill>
            <a:schemeClr val="tx1"/>
          </a:solidFill>
          <a:latin typeface="+mn-lt"/>
          <a:ea typeface="+mn-ea"/>
          <a:cs typeface="+mn-cs"/>
        </a:defRPr>
      </a:lvl3pPr>
      <a:lvl4pPr marL="1435364" algn="l" defTabSz="956911" rtl="0" eaLnBrk="1" latinLnBrk="0" hangingPunct="1">
        <a:defRPr sz="1883" kern="1200">
          <a:solidFill>
            <a:schemeClr val="tx1"/>
          </a:solidFill>
          <a:latin typeface="+mn-lt"/>
          <a:ea typeface="+mn-ea"/>
          <a:cs typeface="+mn-cs"/>
        </a:defRPr>
      </a:lvl4pPr>
      <a:lvl5pPr marL="1913819" algn="l" defTabSz="956911" rtl="0" eaLnBrk="1" latinLnBrk="0" hangingPunct="1">
        <a:defRPr sz="1883" kern="1200">
          <a:solidFill>
            <a:schemeClr val="tx1"/>
          </a:solidFill>
          <a:latin typeface="+mn-lt"/>
          <a:ea typeface="+mn-ea"/>
          <a:cs typeface="+mn-cs"/>
        </a:defRPr>
      </a:lvl5pPr>
      <a:lvl6pPr marL="2392274" algn="l" defTabSz="956911" rtl="0" eaLnBrk="1" latinLnBrk="0" hangingPunct="1">
        <a:defRPr sz="1883" kern="1200">
          <a:solidFill>
            <a:schemeClr val="tx1"/>
          </a:solidFill>
          <a:latin typeface="+mn-lt"/>
          <a:ea typeface="+mn-ea"/>
          <a:cs typeface="+mn-cs"/>
        </a:defRPr>
      </a:lvl6pPr>
      <a:lvl7pPr marL="2870730" algn="l" defTabSz="956911" rtl="0" eaLnBrk="1" latinLnBrk="0" hangingPunct="1">
        <a:defRPr sz="1883" kern="1200">
          <a:solidFill>
            <a:schemeClr val="tx1"/>
          </a:solidFill>
          <a:latin typeface="+mn-lt"/>
          <a:ea typeface="+mn-ea"/>
          <a:cs typeface="+mn-cs"/>
        </a:defRPr>
      </a:lvl7pPr>
      <a:lvl8pPr marL="3349185" algn="l" defTabSz="956911" rtl="0" eaLnBrk="1" latinLnBrk="0" hangingPunct="1">
        <a:defRPr sz="1883" kern="1200">
          <a:solidFill>
            <a:schemeClr val="tx1"/>
          </a:solidFill>
          <a:latin typeface="+mn-lt"/>
          <a:ea typeface="+mn-ea"/>
          <a:cs typeface="+mn-cs"/>
        </a:defRPr>
      </a:lvl8pPr>
      <a:lvl9pPr marL="3827640" algn="l" defTabSz="956911" rtl="0" eaLnBrk="1" latinLnBrk="0" hangingPunct="1">
        <a:defRPr sz="188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20E29F2D-A394-A893-DF7A-792EEEFE29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693301356"/>
              </p:ext>
            </p:extLst>
          </p:nvPr>
        </p:nvGraphicFramePr>
        <p:xfrm>
          <a:off x="1680" y="1680"/>
          <a:ext cx="1680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473" imgH="473" progId="TCLayout.ActiveDocument.1">
                  <p:embed/>
                </p:oleObj>
              </mc:Choice>
              <mc:Fallback>
                <p:oleObj name="think-cell Folie" r:id="rId17" imgW="473" imgH="47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20E29F2D-A394-A893-DF7A-792EEEFE29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0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977" y="685569"/>
            <a:ext cx="10209625" cy="732069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490" y="1599416"/>
            <a:ext cx="10208961" cy="49544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71376" y="381374"/>
            <a:ext cx="875629" cy="228594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111">
                <a:solidFill>
                  <a:schemeClr val="accent1"/>
                </a:solidFill>
              </a:defRPr>
            </a:lvl1pPr>
          </a:lstStyle>
          <a:p>
            <a:fld id="{30694A65-3AA1-42B9-B750-09273D0D99B8}" type="datetime1">
              <a:rPr lang="de-DE" smtClean="0"/>
              <a:t>18.09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80843" y="381374"/>
            <a:ext cx="8837608" cy="228594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111" spc="32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Use Case Wüstenro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09489" y="381374"/>
            <a:ext cx="304745" cy="228594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111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2705" y="419087"/>
            <a:ext cx="571396" cy="761979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609490" y="647683"/>
            <a:ext cx="1020896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609490" y="647683"/>
            <a:ext cx="1020896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914235" y="419089"/>
            <a:ext cx="0" cy="152396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866564" y="419089"/>
            <a:ext cx="0" cy="152396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24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</p:sldLayoutIdLst>
  <p:hf hdr="0"/>
  <p:txStyles>
    <p:titleStyle>
      <a:lvl1pPr algn="l" defTabSz="967527" rtl="0" eaLnBrk="1" latinLnBrk="0" hangingPunct="1">
        <a:lnSpc>
          <a:spcPct val="100000"/>
        </a:lnSpc>
        <a:spcBef>
          <a:spcPct val="0"/>
        </a:spcBef>
        <a:buNone/>
        <a:defRPr sz="2222" kern="1200" spc="106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67527" rtl="0" eaLnBrk="1" latinLnBrk="0" hangingPunct="1">
        <a:lnSpc>
          <a:spcPct val="120000"/>
        </a:lnSpc>
        <a:spcBef>
          <a:spcPts val="635"/>
        </a:spcBef>
        <a:spcAft>
          <a:spcPts val="0"/>
        </a:spcAft>
        <a:buFontTx/>
        <a:buNone/>
        <a:defRPr sz="2539" b="1" kern="1200" spc="-21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67527" rtl="0" eaLnBrk="1" latinLnBrk="0" hangingPunct="1">
        <a:lnSpc>
          <a:spcPct val="120000"/>
        </a:lnSpc>
        <a:spcBef>
          <a:spcPts val="635"/>
        </a:spcBef>
        <a:spcAft>
          <a:spcPts val="0"/>
        </a:spcAft>
        <a:buFontTx/>
        <a:buNone/>
        <a:defRPr sz="2539" kern="1200" spc="-21" baseline="0">
          <a:solidFill>
            <a:schemeClr val="bg2"/>
          </a:solidFill>
          <a:latin typeface="+mn-lt"/>
          <a:ea typeface="+mn-ea"/>
          <a:cs typeface="+mn-cs"/>
        </a:defRPr>
      </a:lvl2pPr>
      <a:lvl3pPr marL="266641" indent="-266641" algn="l" defTabSz="967527" rtl="0" eaLnBrk="1" latinLnBrk="0" hangingPunct="1">
        <a:lnSpc>
          <a:spcPct val="110000"/>
        </a:lnSpc>
        <a:spcBef>
          <a:spcPts val="635"/>
        </a:spcBef>
        <a:spcAft>
          <a:spcPts val="0"/>
        </a:spcAft>
        <a:buClr>
          <a:schemeClr val="accent1"/>
        </a:buClr>
        <a:buSzPct val="100000"/>
        <a:buFontTx/>
        <a:buBlip>
          <a:blip r:embed="rId20"/>
        </a:buBlip>
        <a:defRPr sz="2539" kern="1200" spc="-21" baseline="0">
          <a:solidFill>
            <a:schemeClr val="bg2"/>
          </a:solidFill>
          <a:latin typeface="+mn-lt"/>
          <a:ea typeface="+mn-ea"/>
          <a:cs typeface="+mn-cs"/>
        </a:defRPr>
      </a:lvl3pPr>
      <a:lvl4pPr marL="457099" indent="-190458" algn="l" defTabSz="967527" rtl="0" eaLnBrk="1" latinLnBrk="0" hangingPunct="1">
        <a:lnSpc>
          <a:spcPct val="120000"/>
        </a:lnSpc>
        <a:spcBef>
          <a:spcPts val="635"/>
        </a:spcBef>
        <a:spcAft>
          <a:spcPts val="0"/>
        </a:spcAft>
        <a:buFontTx/>
        <a:buBlip>
          <a:blip r:embed="rId21"/>
        </a:buBlip>
        <a:defRPr sz="2328" kern="1200" spc="-21" baseline="0">
          <a:solidFill>
            <a:schemeClr val="bg2"/>
          </a:solidFill>
          <a:latin typeface="+mn-lt"/>
          <a:ea typeface="+mn-ea"/>
          <a:cs typeface="+mn-cs"/>
        </a:defRPr>
      </a:lvl4pPr>
      <a:lvl5pPr marL="685649" indent="-190458" algn="l" defTabSz="967527" rtl="0" eaLnBrk="1" latinLnBrk="0" hangingPunct="1">
        <a:lnSpc>
          <a:spcPct val="120000"/>
        </a:lnSpc>
        <a:spcBef>
          <a:spcPts val="0"/>
        </a:spcBef>
        <a:buFontTx/>
        <a:buBlip>
          <a:blip r:embed="rId21"/>
        </a:buBlip>
        <a:defRPr sz="2116" kern="1200" spc="-21" baseline="0">
          <a:solidFill>
            <a:schemeClr val="bg2"/>
          </a:solidFill>
          <a:latin typeface="+mn-lt"/>
          <a:ea typeface="+mn-ea"/>
          <a:cs typeface="+mn-cs"/>
        </a:defRPr>
      </a:lvl5pPr>
      <a:lvl6pPr marL="2660698" indent="-241882" algn="l" defTabSz="9675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6pPr>
      <a:lvl7pPr marL="3144462" indent="-241882" algn="l" defTabSz="9675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7pPr>
      <a:lvl8pPr marL="3628225" indent="-241882" algn="l" defTabSz="9675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8pPr>
      <a:lvl9pPr marL="4111988" indent="-241882" algn="l" defTabSz="9675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6752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763" algn="l" defTabSz="96752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527" algn="l" defTabSz="96752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290" algn="l" defTabSz="96752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053" algn="l" defTabSz="96752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8817" algn="l" defTabSz="96752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2580" algn="l" defTabSz="96752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343" algn="l" defTabSz="96752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107" algn="l" defTabSz="96752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-mark-able.net/blogs/2024/04/30/what-is-aspire.html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xfuel.com/en/free-photo-qlney/download/1920x1080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dotnet/aspire-samples" TargetMode="External"/><Relationship Id="rId2" Type="http://schemas.openxmlformats.org/officeDocument/2006/relationships/hyperlink" Target="https://github.com/fjeller/Summit-2025" TargetMode="External"/><Relationship Id="rId1" Type="http://schemas.openxmlformats.org/officeDocument/2006/relationships/slideLayout" Target="../slideLayouts/slideLayout4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learn.microsoft.com/en-us/dotnet/aspire/fundamentals/integrations-overview" TargetMode="External"/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prom3theu5.github.io/aspirational-manifests/getting-started.html" TargetMode="External"/><Relationship Id="rId2" Type="http://schemas.openxmlformats.org/officeDocument/2006/relationships/hyperlink" Target="https://learn.microsoft.com/en-us/dotnet/aspire/deployment/overview" TargetMode="External"/><Relationship Id="rId1" Type="http://schemas.openxmlformats.org/officeDocument/2006/relationships/slideLayout" Target="../slideLayouts/slideLayout45.xml"/><Relationship Id="rId4" Type="http://schemas.openxmlformats.org/officeDocument/2006/relationships/hyperlink" Target="https://learn.microsoft.com/en-us/dotnet/aspire/deployment/azure/aca-deployment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dotnet/aspire/whats-new/dotnet-aspire-9.4" TargetMode="External"/><Relationship Id="rId2" Type="http://schemas.openxmlformats.org/officeDocument/2006/relationships/hyperlink" Target="https://learn.microsoft.com/en-us/dotnet/aspire/whats-new/dotnet-aspire-X.x" TargetMode="External"/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Rectangle 23">
            <a:extLst>
              <a:ext uri="{FF2B5EF4-FFF2-40B4-BE49-F238E27FC236}">
                <a16:creationId xmlns:a16="http://schemas.microsoft.com/office/drawing/2014/main" id="{06DA9DF9-31F7-4056-B42E-878CC92417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734AECD-1BD8-45CC-B0FC-109DE49137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3468" y="643467"/>
            <a:ext cx="4620584" cy="4567137"/>
          </a:xfrm>
        </p:spPr>
        <p:txBody>
          <a:bodyPr>
            <a:normAutofit/>
          </a:bodyPr>
          <a:lstStyle/>
          <a:p>
            <a:pPr algn="l"/>
            <a:r>
              <a:rPr lang="de-DE" sz="4400"/>
              <a:t>Kubernetes in der Hosentasch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A5F4656-EFE8-4F1D-82EC-5A8214A067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3467" y="5277684"/>
            <a:ext cx="4620584" cy="775494"/>
          </a:xfrm>
        </p:spPr>
        <p:txBody>
          <a:bodyPr>
            <a:normAutofit/>
          </a:bodyPr>
          <a:lstStyle/>
          <a:p>
            <a:pPr algn="l"/>
            <a:r>
              <a:rPr lang="de-DE"/>
              <a:t>Lokale Orchestrierung verteilter Anwendungen mit .NET Aspire</a:t>
            </a:r>
          </a:p>
        </p:txBody>
      </p:sp>
      <p:pic>
        <p:nvPicPr>
          <p:cNvPr id="5" name="Picture 4" descr="A cloud computing network with blue lights&#10;&#10;AI-generated content may be incorrect.">
            <a:extLst>
              <a:ext uri="{FF2B5EF4-FFF2-40B4-BE49-F238E27FC236}">
                <a16:creationId xmlns:a16="http://schemas.microsoft.com/office/drawing/2014/main" id="{A9BB5C73-58F1-F2E7-7380-1028830298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23724" r="26500" b="1"/>
          <a:stretch/>
        </p:blipFill>
        <p:spPr>
          <a:xfrm>
            <a:off x="6229215" y="10"/>
            <a:ext cx="5962785" cy="6857990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389097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B3749AF-657E-5653-8026-EDD5954BF2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2" name="Rectangle 31">
            <a:extLst>
              <a:ext uri="{FF2B5EF4-FFF2-40B4-BE49-F238E27FC236}">
                <a16:creationId xmlns:a16="http://schemas.microsoft.com/office/drawing/2014/main" id="{06DA9DF9-31F7-4056-B42E-878CC92417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BA80384-01D2-8667-845A-2241FAFE1C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3468" y="643467"/>
            <a:ext cx="4620584" cy="4567137"/>
          </a:xfrm>
        </p:spPr>
        <p:txBody>
          <a:bodyPr>
            <a:normAutofit/>
          </a:bodyPr>
          <a:lstStyle/>
          <a:p>
            <a:pPr algn="l"/>
            <a:r>
              <a:rPr lang="de-DE" sz="4400"/>
              <a:t>Demo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D3D1338-9EFD-BA7D-C9D7-4F255072D9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3467" y="5277684"/>
            <a:ext cx="4620584" cy="775494"/>
          </a:xfrm>
        </p:spPr>
        <p:txBody>
          <a:bodyPr>
            <a:normAutofit/>
          </a:bodyPr>
          <a:lstStyle/>
          <a:p>
            <a:pPr algn="l"/>
            <a:endParaRPr lang="de-DE"/>
          </a:p>
        </p:txBody>
      </p:sp>
      <p:pic>
        <p:nvPicPr>
          <p:cNvPr id="6" name="Picture 5" descr="A computer keyboard with green lights">
            <a:extLst>
              <a:ext uri="{FF2B5EF4-FFF2-40B4-BE49-F238E27FC236}">
                <a16:creationId xmlns:a16="http://schemas.microsoft.com/office/drawing/2014/main" id="{534E4F56-067E-11DB-2FD2-C2F9149E1A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22292" r="23304"/>
          <a:stretch/>
        </p:blipFill>
        <p:spPr>
          <a:xfrm>
            <a:off x="6229215" y="10"/>
            <a:ext cx="5962785" cy="6857990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332398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4EB986-FE65-3801-B5E8-81F7B298AC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A4987F-8B7A-177C-BA8D-746BF2C44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urce Code …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3E028B-3919-24B5-0CC2-64D4054A26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52B5A-167D-4ED6-B7C9-BDA647A8BA51}" type="datetime1">
              <a:rPr lang="de-DE" smtClean="0"/>
              <a:t>18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D62E3A-09AF-EF3B-E400-19060B55E2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</a:t>
            </a:r>
          </a:p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28ABA0-A716-63E9-2E10-ADE4371ECB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11</a:t>
            </a:fld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B388CEA-3032-9DFD-DF39-ED511C34869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1" algn="ctr"/>
            <a:r>
              <a:rPr lang="en-US" sz="2400" b="0"/>
              <a:t>Source-Code </a:t>
            </a:r>
            <a:r>
              <a:rPr lang="en-US" sz="2400" b="0" err="1"/>
              <a:t>verfügbar</a:t>
            </a:r>
            <a:r>
              <a:rPr lang="en-US" sz="2400" b="0"/>
              <a:t> </a:t>
            </a:r>
            <a:r>
              <a:rPr lang="en-US" sz="2400" b="0" err="1"/>
              <a:t>unter</a:t>
            </a:r>
            <a:endParaRPr lang="en-US" sz="2400" b="0"/>
          </a:p>
          <a:p>
            <a:pPr lvl="1" algn="ctr"/>
            <a:endParaRPr lang="en-US" sz="2400"/>
          </a:p>
          <a:p>
            <a:pPr lvl="1" algn="ctr"/>
            <a:r>
              <a:rPr lang="en-US" sz="3600" b="0">
                <a:hlinkClick r:id="rId2"/>
              </a:rPr>
              <a:t>https://github.com/fjeller/Summit-2025</a:t>
            </a:r>
            <a:endParaRPr lang="en-US" sz="3600" b="0"/>
          </a:p>
          <a:p>
            <a:pPr lvl="1" algn="ctr"/>
            <a:endParaRPr lang="en-US" sz="2400"/>
          </a:p>
          <a:p>
            <a:pPr lvl="1" algn="ctr"/>
            <a:r>
              <a:rPr lang="en-US" sz="2400" b="0"/>
              <a:t>Microsoft Aspire-Samples</a:t>
            </a:r>
          </a:p>
          <a:p>
            <a:pPr lvl="1" algn="ctr"/>
            <a:r>
              <a:rPr lang="en-US" sz="3600">
                <a:hlinkClick r:id="rId3"/>
              </a:rPr>
              <a:t>https://github.com/dotnet/aspire-samples</a:t>
            </a:r>
            <a:endParaRPr lang="en-US" sz="3600"/>
          </a:p>
          <a:p>
            <a:pPr lvl="1" algn="ctr"/>
            <a:endParaRPr lang="en-US" sz="3600" b="0"/>
          </a:p>
          <a:p>
            <a:pPr marL="723841" lvl="2" indent="-457200">
              <a:buFont typeface="Arial" panose="020B0604020202020204" pitchFamily="34" charset="0"/>
              <a:buChar char="•"/>
            </a:pPr>
            <a:endParaRPr lang="en-US" b="0"/>
          </a:p>
        </p:txBody>
      </p:sp>
    </p:spTree>
    <p:extLst>
      <p:ext uri="{BB962C8B-B14F-4D97-AF65-F5344CB8AC3E}">
        <p14:creationId xmlns:p14="http://schemas.microsoft.com/office/powerpoint/2010/main" val="36649065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C3F1A1B-CC6C-0564-5558-CF57128AC6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ECC07320-C2CA-4E29-8481-9D9E143C77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People standing and clapping">
            <a:extLst>
              <a:ext uri="{FF2B5EF4-FFF2-40B4-BE49-F238E27FC236}">
                <a16:creationId xmlns:a16="http://schemas.microsoft.com/office/drawing/2014/main" id="{61D652A0-A033-5948-8F24-F7F232B8E9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4" r="-1" b="-1"/>
          <a:stretch/>
        </p:blipFill>
        <p:spPr>
          <a:xfrm>
            <a:off x="2522358" y="10"/>
            <a:ext cx="9669642" cy="685799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78FB36B-5BFE-42CA-BC60-1115E0D95E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42E89DA-FA9A-3301-A3FC-4F7EB743A9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52228" y="743447"/>
            <a:ext cx="4592538" cy="3692028"/>
          </a:xfrm>
          <a:noFill/>
        </p:spPr>
        <p:txBody>
          <a:bodyPr>
            <a:normAutofit/>
          </a:bodyPr>
          <a:lstStyle/>
          <a:p>
            <a:pPr algn="l"/>
            <a:r>
              <a:rPr lang="de-DE" sz="4400"/>
              <a:t>Vielen Dank für die Aufmerksamkei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E859489-8911-D447-6F10-D8FC3B1893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52229" y="4629234"/>
            <a:ext cx="3973386" cy="1485319"/>
          </a:xfrm>
          <a:noFill/>
        </p:spPr>
        <p:txBody>
          <a:bodyPr>
            <a:normAutofit/>
          </a:bodyPr>
          <a:lstStyle/>
          <a:p>
            <a:pPr algn="l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11904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3A93CA-887D-B85A-D5CD-DA6DE561D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as </a:t>
            </a:r>
            <a:r>
              <a:rPr lang="en-US" err="1"/>
              <a:t>ist</a:t>
            </a:r>
            <a:r>
              <a:rPr lang="en-US"/>
              <a:t> .NET Aspire?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6A36A5-7B5A-5B46-B37E-FEA7C3E9FB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52B5A-167D-4ED6-B7C9-BDA647A8BA51}" type="datetime1">
              <a:rPr lang="de-DE" smtClean="0"/>
              <a:t>18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C874-3868-53C4-4132-DED5A35BF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adesso</a:t>
            </a:r>
            <a:r>
              <a:rPr lang="de-DE"/>
              <a:t> SE</a:t>
            </a:r>
          </a:p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CA43E2-966A-4731-A8F6-D046FFBB0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2</a:t>
            </a:fld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B14FB40-DFCF-ABAA-9604-BD2065CCB71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9769" y="3287948"/>
            <a:ext cx="10209834" cy="3265961"/>
          </a:xfrm>
        </p:spPr>
        <p:txBody>
          <a:bodyPr/>
          <a:lstStyle/>
          <a:p>
            <a:pPr algn="ctr"/>
            <a:r>
              <a:rPr lang="de-DE"/>
              <a:t>.NET Aspire bietet Tools, Vorlagen und Pakete, </a:t>
            </a:r>
            <a:br>
              <a:rPr lang="de-DE"/>
            </a:br>
            <a:r>
              <a:rPr lang="de-DE"/>
              <a:t>mit denen Sie beobachtbare, </a:t>
            </a:r>
            <a:r>
              <a:rPr lang="de-DE" err="1"/>
              <a:t>cloudfähige</a:t>
            </a:r>
            <a:r>
              <a:rPr lang="de-DE"/>
              <a:t> und </a:t>
            </a:r>
            <a:br>
              <a:rPr lang="de-DE"/>
            </a:br>
            <a:r>
              <a:rPr lang="de-DE"/>
              <a:t>produktionsreife Anwendungen erstellen können.</a:t>
            </a:r>
            <a:endParaRPr lang="en-DE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9856F3D-0795-A7C7-2D14-141613DBC6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05990" y="1427090"/>
            <a:ext cx="1617392" cy="161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7688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DC5FF8-F1D6-21C3-3BC4-0DFF9559F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34235C-1D1C-9770-3F32-5797CF225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Erstellen</a:t>
            </a:r>
            <a:r>
              <a:rPr lang="en-US"/>
              <a:t> </a:t>
            </a:r>
            <a:r>
              <a:rPr lang="en-US" err="1"/>
              <a:t>verteilter</a:t>
            </a:r>
            <a:r>
              <a:rPr lang="en-US"/>
              <a:t> </a:t>
            </a:r>
            <a:r>
              <a:rPr lang="en-US" err="1"/>
              <a:t>Anwendungen</a:t>
            </a:r>
            <a:r>
              <a:rPr lang="en-US"/>
              <a:t> für Azur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255317C-8C6E-0E3E-B038-CB2D4275CB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52B5A-167D-4ED6-B7C9-BDA647A8BA51}" type="datetime1">
              <a:rPr lang="de-DE" smtClean="0"/>
              <a:t>18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981215-4F24-4AC4-77C9-0D29851082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adesso</a:t>
            </a:r>
            <a:r>
              <a:rPr lang="de-DE"/>
              <a:t> SE</a:t>
            </a:r>
          </a:p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0F530A-B300-940C-3C86-0A430D5F4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3</a:t>
            </a:fld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3707949-DC17-40BE-BCD1-CED1926A43B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457200" lvl="1" indent="-457200">
              <a:buFont typeface="Wingdings" panose="05000000000000000000" pitchFamily="2" charset="2"/>
              <a:buChar char="Ø"/>
            </a:pPr>
            <a:r>
              <a:rPr lang="en-US" sz="2400" b="0" err="1"/>
              <a:t>Mehrere</a:t>
            </a:r>
            <a:r>
              <a:rPr lang="en-US" sz="2400" b="0"/>
              <a:t> </a:t>
            </a:r>
            <a:r>
              <a:rPr lang="en-US" sz="2400" b="0" err="1"/>
              <a:t>Anwendungen</a:t>
            </a:r>
            <a:r>
              <a:rPr lang="en-US" sz="2400" b="0"/>
              <a:t> </a:t>
            </a:r>
            <a:r>
              <a:rPr lang="en-US" sz="2400" b="0" err="1"/>
              <a:t>verwalten</a:t>
            </a:r>
            <a:endParaRPr lang="en-US" sz="2400" b="0"/>
          </a:p>
          <a:p>
            <a:pPr marL="723841" lvl="2" indent="-457200">
              <a:buFont typeface="Wingdings" panose="05000000000000000000" pitchFamily="2" charset="2"/>
              <a:buChar char="Ø"/>
            </a:pPr>
            <a:r>
              <a:rPr lang="en-US" sz="2400" b="0"/>
              <a:t> “Wiring up” </a:t>
            </a:r>
            <a:r>
              <a:rPr lang="en-US" sz="2400" b="0" err="1"/>
              <a:t>mehrerer</a:t>
            </a:r>
            <a:r>
              <a:rPr lang="en-US" sz="2400" b="0"/>
              <a:t> </a:t>
            </a:r>
            <a:r>
              <a:rPr lang="en-US" sz="2400" b="0" err="1"/>
              <a:t>Anwendungen</a:t>
            </a:r>
            <a:r>
              <a:rPr lang="en-US" sz="2400" b="0"/>
              <a:t> </a:t>
            </a:r>
            <a:r>
              <a:rPr lang="en-US" sz="2400" b="0" err="1"/>
              <a:t>ist</a:t>
            </a:r>
            <a:r>
              <a:rPr lang="en-US" sz="2400" b="0"/>
              <a:t> </a:t>
            </a:r>
            <a:r>
              <a:rPr lang="en-US" sz="2400" err="1"/>
              <a:t>aufwändig</a:t>
            </a:r>
            <a:endParaRPr lang="en-US" sz="2400"/>
          </a:p>
          <a:p>
            <a:pPr marL="914299" lvl="3" indent="-457200">
              <a:buFont typeface="Wingdings" panose="05000000000000000000" pitchFamily="2" charset="2"/>
              <a:buChar char="Ø"/>
            </a:pPr>
            <a:r>
              <a:rPr lang="en-US" sz="2189" b="0" err="1"/>
              <a:t>Konfigurieren</a:t>
            </a:r>
            <a:r>
              <a:rPr lang="en-US" sz="2189" b="0"/>
              <a:t> von Connections</a:t>
            </a:r>
          </a:p>
          <a:p>
            <a:pPr marL="914299" lvl="3" indent="-457200">
              <a:buFont typeface="Wingdings" panose="05000000000000000000" pitchFamily="2" charset="2"/>
              <a:buChar char="Ø"/>
            </a:pPr>
            <a:r>
              <a:rPr lang="en-US" sz="2189" err="1"/>
              <a:t>Sicherstellen</a:t>
            </a:r>
            <a:r>
              <a:rPr lang="en-US" sz="2189"/>
              <a:t> </a:t>
            </a:r>
            <a:r>
              <a:rPr lang="en-US" sz="2189" err="1"/>
              <a:t>dass</a:t>
            </a:r>
            <a:r>
              <a:rPr lang="en-US" sz="2189"/>
              <a:t> es </a:t>
            </a:r>
            <a:r>
              <a:rPr lang="en-US" sz="2189" err="1"/>
              <a:t>keine</a:t>
            </a:r>
            <a:r>
              <a:rPr lang="en-US" sz="2189"/>
              <a:t> </a:t>
            </a:r>
            <a:r>
              <a:rPr lang="en-US" sz="2189" err="1"/>
              <a:t>Konflikte</a:t>
            </a:r>
            <a:r>
              <a:rPr lang="en-US" sz="2189"/>
              <a:t> </a:t>
            </a:r>
            <a:r>
              <a:rPr lang="en-US" sz="2189" err="1"/>
              <a:t>gibt</a:t>
            </a:r>
            <a:r>
              <a:rPr lang="en-US" sz="2189"/>
              <a:t> (Ports etc.)</a:t>
            </a:r>
          </a:p>
          <a:p>
            <a:pPr marL="914299" lvl="3" indent="-457200">
              <a:buFont typeface="Wingdings" panose="05000000000000000000" pitchFamily="2" charset="2"/>
              <a:buChar char="Ø"/>
            </a:pPr>
            <a:r>
              <a:rPr lang="en-US" sz="2189" b="0" err="1"/>
              <a:t>Startreihenfolge</a:t>
            </a:r>
            <a:r>
              <a:rPr lang="en-US" sz="2189" b="0"/>
              <a:t> </a:t>
            </a:r>
            <a:r>
              <a:rPr lang="en-US" sz="2189" b="0" err="1"/>
              <a:t>festlegen</a:t>
            </a:r>
            <a:r>
              <a:rPr lang="en-US" sz="2189" b="0"/>
              <a:t>/</a:t>
            </a:r>
            <a:r>
              <a:rPr lang="en-US" sz="2189" b="0" err="1"/>
              <a:t>Abhängigkeiten</a:t>
            </a:r>
            <a:r>
              <a:rPr lang="en-US" sz="2189" b="0"/>
              <a:t> </a:t>
            </a:r>
            <a:r>
              <a:rPr lang="en-US" sz="2189" b="0" err="1"/>
              <a:t>sicherstellen</a:t>
            </a:r>
            <a:endParaRPr lang="en-US" sz="2189" b="0"/>
          </a:p>
          <a:p>
            <a:pPr marL="457200" lvl="1" indent="-457200">
              <a:buFont typeface="Wingdings" panose="05000000000000000000" pitchFamily="2" charset="2"/>
              <a:buChar char="Ø"/>
            </a:pPr>
            <a:r>
              <a:rPr lang="en-US" sz="2400" err="1"/>
              <a:t>Anwendungen</a:t>
            </a:r>
            <a:r>
              <a:rPr lang="en-US" sz="2400"/>
              <a:t> </a:t>
            </a:r>
            <a:r>
              <a:rPr lang="en-US" sz="2400" err="1"/>
              <a:t>sind</a:t>
            </a:r>
            <a:r>
              <a:rPr lang="en-US" sz="2400"/>
              <a:t> “</a:t>
            </a:r>
            <a:r>
              <a:rPr lang="en-US" sz="2400" err="1"/>
              <a:t>Einzelkämpfer</a:t>
            </a:r>
            <a:r>
              <a:rPr lang="en-US" sz="2400"/>
              <a:t>”</a:t>
            </a:r>
          </a:p>
          <a:p>
            <a:pPr marL="723841" lvl="2" indent="-457200">
              <a:buFont typeface="Wingdings" panose="05000000000000000000" pitchFamily="2" charset="2"/>
              <a:buChar char="Ø"/>
            </a:pPr>
            <a:r>
              <a:rPr lang="en-US" sz="2400" b="0" err="1"/>
              <a:t>Keine</a:t>
            </a:r>
            <a:r>
              <a:rPr lang="en-US" sz="2400" b="0"/>
              <a:t> </a:t>
            </a:r>
            <a:r>
              <a:rPr lang="en-US" sz="2400" err="1"/>
              <a:t>zentrale</a:t>
            </a:r>
            <a:r>
              <a:rPr lang="en-US" sz="2400"/>
              <a:t> Stelle um den Status </a:t>
            </a:r>
            <a:r>
              <a:rPr lang="en-US" sz="2400" err="1"/>
              <a:t>aller</a:t>
            </a:r>
            <a:r>
              <a:rPr lang="en-US" sz="2400"/>
              <a:t> </a:t>
            </a:r>
            <a:r>
              <a:rPr lang="en-US" sz="2400" err="1"/>
              <a:t>Anwendungen</a:t>
            </a:r>
            <a:r>
              <a:rPr lang="en-US" sz="2400"/>
              <a:t> </a:t>
            </a:r>
            <a:r>
              <a:rPr lang="en-US" sz="2400" err="1"/>
              <a:t>zu</a:t>
            </a:r>
            <a:r>
              <a:rPr lang="en-US" sz="2400"/>
              <a:t> </a:t>
            </a:r>
            <a:r>
              <a:rPr lang="en-US" sz="2400" err="1"/>
              <a:t>sehen</a:t>
            </a:r>
            <a:endParaRPr lang="en-US" sz="2400"/>
          </a:p>
          <a:p>
            <a:pPr marL="723841" lvl="2" indent="-457200">
              <a:buFont typeface="Wingdings" panose="05000000000000000000" pitchFamily="2" charset="2"/>
              <a:buChar char="Ø"/>
            </a:pPr>
            <a:r>
              <a:rPr lang="en-US" sz="2400"/>
              <a:t>Logging, Traces, Metrics </a:t>
            </a:r>
            <a:r>
              <a:rPr lang="en-US" sz="2400" err="1"/>
              <a:t>i.d.R.</a:t>
            </a:r>
            <a:r>
              <a:rPr lang="en-US" sz="2400"/>
              <a:t> </a:t>
            </a:r>
            <a:r>
              <a:rPr lang="en-US" sz="2400" err="1"/>
              <a:t>getrennt</a:t>
            </a:r>
            <a:r>
              <a:rPr lang="en-US" sz="2400"/>
              <a:t> </a:t>
            </a:r>
            <a:r>
              <a:rPr lang="en-US" sz="2400" err="1"/>
              <a:t>eingerichtet</a:t>
            </a:r>
            <a:r>
              <a:rPr lang="en-US" sz="2400"/>
              <a:t> und </a:t>
            </a:r>
            <a:r>
              <a:rPr lang="en-US" sz="2400" err="1"/>
              <a:t>damit</a:t>
            </a:r>
            <a:r>
              <a:rPr lang="en-US" sz="2400"/>
              <a:t> </a:t>
            </a:r>
            <a:r>
              <a:rPr lang="en-US" sz="2400" err="1"/>
              <a:t>schwer</a:t>
            </a:r>
            <a:r>
              <a:rPr lang="en-US" sz="2400"/>
              <a:t> </a:t>
            </a:r>
            <a:r>
              <a:rPr lang="en-US" sz="2400" err="1"/>
              <a:t>zu</a:t>
            </a:r>
            <a:r>
              <a:rPr lang="en-US" sz="2400"/>
              <a:t> </a:t>
            </a:r>
            <a:r>
              <a:rPr lang="en-US" sz="2400" err="1"/>
              <a:t>überwachen</a:t>
            </a:r>
            <a:endParaRPr lang="en-US" sz="2400"/>
          </a:p>
          <a:p>
            <a:pPr marL="914299" lvl="3" indent="-457200">
              <a:buFont typeface="Wingdings" panose="05000000000000000000" pitchFamily="2" charset="2"/>
              <a:buChar char="Ø"/>
            </a:pPr>
            <a:endParaRPr lang="en-US" sz="2189" b="0"/>
          </a:p>
          <a:p>
            <a:pPr marL="723841" lvl="2" indent="-457200">
              <a:buFont typeface="Wingdings" panose="05000000000000000000" pitchFamily="2" charset="2"/>
              <a:buChar char="Ø"/>
            </a:pPr>
            <a:endParaRPr lang="en-US" sz="2000"/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en-US" sz="2000" b="0"/>
          </a:p>
          <a:p>
            <a:pPr marL="457200" lvl="1" indent="-457200">
              <a:buFont typeface="Wingdings" panose="05000000000000000000" pitchFamily="2" charset="2"/>
              <a:buChar char="Ø"/>
            </a:pPr>
            <a:endParaRPr lang="en-US" sz="2000" b="0"/>
          </a:p>
          <a:p>
            <a:pPr marL="723841" lvl="2" indent="-457200">
              <a:buFont typeface="Arial" panose="020B0604020202020204" pitchFamily="34" charset="0"/>
              <a:buChar char="•"/>
            </a:pPr>
            <a:endParaRPr lang="en-US" b="0"/>
          </a:p>
        </p:txBody>
      </p:sp>
    </p:spTree>
    <p:extLst>
      <p:ext uri="{BB962C8B-B14F-4D97-AF65-F5344CB8AC3E}">
        <p14:creationId xmlns:p14="http://schemas.microsoft.com/office/powerpoint/2010/main" val="47083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AFB871-4F9A-D0E4-A026-5F155AE2A2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0FE46A-ACF6-642A-3739-2FB708BF5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Erstellen</a:t>
            </a:r>
            <a:r>
              <a:rPr lang="en-US"/>
              <a:t> </a:t>
            </a:r>
            <a:r>
              <a:rPr lang="en-US" err="1"/>
              <a:t>verteilter</a:t>
            </a:r>
            <a:r>
              <a:rPr lang="en-US"/>
              <a:t> </a:t>
            </a:r>
            <a:r>
              <a:rPr lang="en-US" err="1"/>
              <a:t>Anwendungen</a:t>
            </a:r>
            <a:r>
              <a:rPr lang="en-US"/>
              <a:t> für Azur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36CCAA-8001-F30D-53A5-61702A035F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52B5A-167D-4ED6-B7C9-BDA647A8BA51}" type="datetime1">
              <a:rPr lang="de-DE" smtClean="0"/>
              <a:t>18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6E855A-5C3D-B106-2DFE-E0956FE15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adesso</a:t>
            </a:r>
            <a:r>
              <a:rPr lang="de-DE"/>
              <a:t> SE</a:t>
            </a:r>
          </a:p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4FF13-8E94-C6DD-8360-231C7D5072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4</a:t>
            </a:fld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246A305-AF91-FB3D-DF3C-8F60687C8AC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457200" lvl="1" indent="-457200">
              <a:buFont typeface="Wingdings" panose="05000000000000000000" pitchFamily="2" charset="2"/>
              <a:buChar char="Ø"/>
            </a:pPr>
            <a:r>
              <a:rPr lang="en-US" sz="2400" b="0" err="1"/>
              <a:t>Einbinden</a:t>
            </a:r>
            <a:r>
              <a:rPr lang="en-US" sz="2400" b="0"/>
              <a:t> von </a:t>
            </a:r>
            <a:r>
              <a:rPr lang="en-US" sz="2400" b="0" err="1"/>
              <a:t>Drittsystemen</a:t>
            </a:r>
            <a:r>
              <a:rPr lang="en-US" sz="2400" b="0"/>
              <a:t> via Docker</a:t>
            </a:r>
          </a:p>
          <a:p>
            <a:pPr marL="723841" lvl="2" indent="-457200">
              <a:buFont typeface="Wingdings" panose="05000000000000000000" pitchFamily="2" charset="2"/>
              <a:buChar char="Ø"/>
            </a:pPr>
            <a:r>
              <a:rPr lang="en-US" sz="2400"/>
              <a:t>Z.B. Redis, RabbitMQ, etc.</a:t>
            </a:r>
          </a:p>
          <a:p>
            <a:pPr marL="723841" lvl="2" indent="-457200">
              <a:buFont typeface="Wingdings" panose="05000000000000000000" pitchFamily="2" charset="2"/>
              <a:buChar char="Ø"/>
            </a:pPr>
            <a:r>
              <a:rPr lang="en-US" sz="2400" err="1"/>
              <a:t>Möglich</a:t>
            </a:r>
            <a:r>
              <a:rPr lang="en-US" sz="2400"/>
              <a:t> via Docker-Container/docker compose</a:t>
            </a:r>
          </a:p>
          <a:p>
            <a:pPr marL="914299" lvl="3" indent="-457200">
              <a:buFont typeface="Wingdings" panose="05000000000000000000" pitchFamily="2" charset="2"/>
              <a:buChar char="Ø"/>
            </a:pPr>
            <a:r>
              <a:rPr lang="en-US" sz="2189"/>
              <a:t>Aber </a:t>
            </a:r>
            <a:r>
              <a:rPr lang="en-US" sz="2189" err="1"/>
              <a:t>erneut</a:t>
            </a:r>
            <a:r>
              <a:rPr lang="en-US" sz="2189"/>
              <a:t>: </a:t>
            </a:r>
          </a:p>
          <a:p>
            <a:pPr marL="1142849" lvl="4" indent="-457200">
              <a:buFont typeface="Wingdings" panose="05000000000000000000" pitchFamily="2" charset="2"/>
              <a:buChar char="Ø"/>
            </a:pPr>
            <a:r>
              <a:rPr lang="en-US" sz="1977" err="1"/>
              <a:t>Zugriff</a:t>
            </a:r>
            <a:r>
              <a:rPr lang="en-US" sz="1977"/>
              <a:t> </a:t>
            </a:r>
            <a:r>
              <a:rPr lang="en-US" sz="1977" err="1"/>
              <a:t>konfigurieren</a:t>
            </a:r>
            <a:r>
              <a:rPr lang="en-US" sz="1977"/>
              <a:t> </a:t>
            </a:r>
          </a:p>
          <a:p>
            <a:pPr marL="1142849" lvl="4" indent="-457200">
              <a:buFont typeface="Wingdings" panose="05000000000000000000" pitchFamily="2" charset="2"/>
              <a:buChar char="Ø"/>
            </a:pPr>
            <a:r>
              <a:rPr lang="en-US" sz="1977" err="1"/>
              <a:t>korrekte</a:t>
            </a:r>
            <a:r>
              <a:rPr lang="en-US" sz="1977"/>
              <a:t> Version </a:t>
            </a:r>
            <a:r>
              <a:rPr lang="en-US" sz="1977" err="1"/>
              <a:t>sicherstellen</a:t>
            </a:r>
            <a:endParaRPr lang="en-US" sz="1977"/>
          </a:p>
          <a:p>
            <a:pPr marL="1142849" lvl="4" indent="-457200">
              <a:buFont typeface="Wingdings" panose="05000000000000000000" pitchFamily="2" charset="2"/>
              <a:buChar char="Ø"/>
            </a:pPr>
            <a:r>
              <a:rPr lang="en-US" sz="1977"/>
              <a:t>Docker-Container </a:t>
            </a:r>
            <a:r>
              <a:rPr lang="en-US" sz="1977" err="1"/>
              <a:t>herunterladen</a:t>
            </a:r>
            <a:r>
              <a:rPr lang="en-US" sz="1977"/>
              <a:t> und </a:t>
            </a:r>
            <a:r>
              <a:rPr lang="en-US" sz="1977" err="1"/>
              <a:t>sicherstellen</a:t>
            </a:r>
            <a:r>
              <a:rPr lang="en-US" sz="1977"/>
              <a:t> </a:t>
            </a:r>
            <a:r>
              <a:rPr lang="en-US" sz="1977" err="1"/>
              <a:t>dass</a:t>
            </a:r>
            <a:r>
              <a:rPr lang="en-US" sz="1977"/>
              <a:t> </a:t>
            </a:r>
            <a:r>
              <a:rPr lang="en-US" sz="1977" err="1"/>
              <a:t>sie</a:t>
            </a:r>
            <a:r>
              <a:rPr lang="en-US" sz="1977"/>
              <a:t> </a:t>
            </a:r>
            <a:r>
              <a:rPr lang="en-US" sz="1977" err="1"/>
              <a:t>gestartet</a:t>
            </a:r>
            <a:r>
              <a:rPr lang="en-US" sz="1977"/>
              <a:t> </a:t>
            </a:r>
            <a:r>
              <a:rPr lang="en-US" sz="1977" err="1"/>
              <a:t>sind</a:t>
            </a:r>
            <a:r>
              <a:rPr lang="en-US" sz="1977"/>
              <a:t> …</a:t>
            </a:r>
          </a:p>
          <a:p>
            <a:pPr lvl="4" indent="0">
              <a:buNone/>
            </a:pPr>
            <a:endParaRPr lang="en-US" sz="1977"/>
          </a:p>
          <a:p>
            <a:pPr marL="457200" lvl="1" indent="-457200">
              <a:buFont typeface="Wingdings" panose="05000000000000000000" pitchFamily="2" charset="2"/>
              <a:buChar char="Ø"/>
            </a:pPr>
            <a:r>
              <a:rPr lang="en-US" sz="2400" b="0" err="1"/>
              <a:t>Im</a:t>
            </a:r>
            <a:r>
              <a:rPr lang="en-US" sz="2400" b="0"/>
              <a:t> Falle </a:t>
            </a:r>
            <a:r>
              <a:rPr lang="en-US" sz="2400" b="0" err="1"/>
              <a:t>einer</a:t>
            </a:r>
            <a:r>
              <a:rPr lang="en-US" sz="2400" b="0"/>
              <a:t> API und </a:t>
            </a:r>
            <a:r>
              <a:rPr lang="en-US" sz="2400" b="0" err="1"/>
              <a:t>einer</a:t>
            </a:r>
            <a:r>
              <a:rPr lang="en-US" sz="2400" b="0"/>
              <a:t> Frontend-</a:t>
            </a:r>
            <a:r>
              <a:rPr lang="en-US" sz="2400" b="0" err="1"/>
              <a:t>Anwendung</a:t>
            </a:r>
            <a:r>
              <a:rPr lang="en-US" sz="2400" b="0"/>
              <a:t> </a:t>
            </a:r>
            <a:r>
              <a:rPr lang="en-US" sz="2400" b="0" err="1"/>
              <a:t>machbar</a:t>
            </a:r>
            <a:r>
              <a:rPr lang="en-US" sz="2400"/>
              <a:t>, </a:t>
            </a:r>
            <a:r>
              <a:rPr lang="en-US" sz="2400" err="1"/>
              <a:t>aber</a:t>
            </a:r>
            <a:r>
              <a:rPr lang="en-US" sz="2400"/>
              <a:t> </a:t>
            </a:r>
            <a:r>
              <a:rPr lang="en-US" sz="2400" err="1"/>
              <a:t>bei</a:t>
            </a:r>
            <a:r>
              <a:rPr lang="en-US" sz="2400"/>
              <a:t> </a:t>
            </a:r>
            <a:r>
              <a:rPr lang="en-US" sz="2400" err="1"/>
              <a:t>mehreren</a:t>
            </a:r>
            <a:r>
              <a:rPr lang="en-US" sz="2400"/>
              <a:t> APIs/</a:t>
            </a:r>
            <a:r>
              <a:rPr lang="en-US" sz="2400" err="1"/>
              <a:t>Anwendungen</a:t>
            </a:r>
            <a:r>
              <a:rPr lang="en-US" sz="2400"/>
              <a:t> </a:t>
            </a:r>
            <a:r>
              <a:rPr lang="en-US" sz="2400" err="1"/>
              <a:t>großer</a:t>
            </a:r>
            <a:r>
              <a:rPr lang="en-US" sz="2400"/>
              <a:t> </a:t>
            </a:r>
            <a:r>
              <a:rPr lang="en-US" sz="2400" err="1"/>
              <a:t>Aufwand</a:t>
            </a:r>
            <a:endParaRPr lang="en-US" sz="2400" b="0"/>
          </a:p>
          <a:p>
            <a:pPr marL="723841" lvl="2" indent="-457200">
              <a:buFont typeface="Wingdings" panose="05000000000000000000" pitchFamily="2" charset="2"/>
              <a:buChar char="Ø"/>
            </a:pPr>
            <a:endParaRPr lang="en-US" sz="2000"/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en-US" sz="2000" b="0"/>
          </a:p>
          <a:p>
            <a:pPr marL="457200" lvl="1" indent="-457200">
              <a:buFont typeface="Wingdings" panose="05000000000000000000" pitchFamily="2" charset="2"/>
              <a:buChar char="Ø"/>
            </a:pPr>
            <a:endParaRPr lang="en-US" sz="2000" b="0"/>
          </a:p>
          <a:p>
            <a:pPr marL="723841" lvl="2" indent="-457200">
              <a:buFont typeface="Arial" panose="020B0604020202020204" pitchFamily="34" charset="0"/>
              <a:buChar char="•"/>
            </a:pPr>
            <a:endParaRPr lang="en-US" b="0"/>
          </a:p>
        </p:txBody>
      </p:sp>
    </p:spTree>
    <p:extLst>
      <p:ext uri="{BB962C8B-B14F-4D97-AF65-F5344CB8AC3E}">
        <p14:creationId xmlns:p14="http://schemas.microsoft.com/office/powerpoint/2010/main" val="4168766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F78BDB-73AC-8E77-8DF5-7504A0F37B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8E938C-8A92-B115-0536-8023480E6B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.NET Aspire to the rescue …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8B8261-CEFA-9A00-63A9-A40FC81B7E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52B5A-167D-4ED6-B7C9-BDA647A8BA51}" type="datetime1">
              <a:rPr lang="de-DE" smtClean="0"/>
              <a:t>18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27C6B2F-A489-B582-3BA1-115CC43852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adesso</a:t>
            </a:r>
            <a:r>
              <a:rPr lang="de-DE"/>
              <a:t> SE</a:t>
            </a:r>
          </a:p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D2DE93-CBBB-9647-2F86-76FC72C8E9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5</a:t>
            </a:fld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6D2D318-FC3E-3661-2001-3C773379D4B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457200" lvl="1" indent="-457200">
              <a:buFont typeface="Wingdings" panose="05000000000000000000" pitchFamily="2" charset="2"/>
              <a:buChar char="Ø"/>
            </a:pPr>
            <a:r>
              <a:rPr lang="en-US" sz="2400"/>
              <a:t>.NET Aspire </a:t>
            </a:r>
            <a:r>
              <a:rPr lang="en-US" sz="2400" err="1"/>
              <a:t>hilft</a:t>
            </a:r>
            <a:r>
              <a:rPr lang="en-US" sz="2400"/>
              <a:t> </a:t>
            </a:r>
            <a:r>
              <a:rPr lang="en-US" sz="2400" err="1"/>
              <a:t>hier</a:t>
            </a:r>
            <a:r>
              <a:rPr lang="en-US" sz="2400"/>
              <a:t>, </a:t>
            </a:r>
            <a:r>
              <a:rPr lang="en-US" sz="2400" err="1"/>
              <a:t>indem</a:t>
            </a:r>
            <a:r>
              <a:rPr lang="en-US" sz="2400"/>
              <a:t> </a:t>
            </a:r>
            <a:r>
              <a:rPr lang="en-US" sz="2400" err="1"/>
              <a:t>mehrere</a:t>
            </a:r>
            <a:r>
              <a:rPr lang="en-US" sz="2400"/>
              <a:t> </a:t>
            </a:r>
            <a:r>
              <a:rPr lang="en-US" sz="2400" err="1"/>
              <a:t>hilfreiche</a:t>
            </a:r>
            <a:r>
              <a:rPr lang="en-US" sz="2400"/>
              <a:t> Systeme </a:t>
            </a:r>
            <a:r>
              <a:rPr lang="en-US" sz="2400" err="1"/>
              <a:t>zur</a:t>
            </a:r>
            <a:r>
              <a:rPr lang="en-US" sz="2400"/>
              <a:t> </a:t>
            </a:r>
            <a:r>
              <a:rPr lang="en-US" sz="2400" err="1"/>
              <a:t>Verfügung</a:t>
            </a:r>
            <a:r>
              <a:rPr lang="en-US" sz="2400"/>
              <a:t> </a:t>
            </a:r>
            <a:r>
              <a:rPr lang="en-US" sz="2400" err="1"/>
              <a:t>gestellt</a:t>
            </a:r>
            <a:r>
              <a:rPr lang="en-US" sz="2400"/>
              <a:t> </a:t>
            </a:r>
            <a:r>
              <a:rPr lang="en-US" sz="2400" err="1"/>
              <a:t>werden</a:t>
            </a:r>
            <a:r>
              <a:rPr lang="en-US" sz="2400"/>
              <a:t>, die </a:t>
            </a:r>
            <a:r>
              <a:rPr lang="en-US" sz="2400" err="1"/>
              <a:t>die</a:t>
            </a:r>
            <a:r>
              <a:rPr lang="en-US" sz="2400"/>
              <a:t> </a:t>
            </a:r>
            <a:r>
              <a:rPr lang="en-US" sz="2400" err="1"/>
              <a:t>Entwicklung</a:t>
            </a:r>
            <a:r>
              <a:rPr lang="en-US" sz="2400"/>
              <a:t> </a:t>
            </a:r>
            <a:r>
              <a:rPr lang="en-US" sz="2400" err="1"/>
              <a:t>verteilter</a:t>
            </a:r>
            <a:r>
              <a:rPr lang="en-US" sz="2400"/>
              <a:t> </a:t>
            </a:r>
            <a:r>
              <a:rPr lang="en-US" sz="2400" err="1"/>
              <a:t>Anwendung</a:t>
            </a:r>
            <a:r>
              <a:rPr lang="en-US" sz="2400"/>
              <a:t> </a:t>
            </a:r>
            <a:r>
              <a:rPr lang="en-US" sz="2400" err="1"/>
              <a:t>vereinfachen</a:t>
            </a:r>
            <a:r>
              <a:rPr lang="en-US" sz="2400"/>
              <a:t>.</a:t>
            </a:r>
          </a:p>
          <a:p>
            <a:pPr marL="457200" lvl="1" indent="-457200">
              <a:buFont typeface="Wingdings" panose="05000000000000000000" pitchFamily="2" charset="2"/>
              <a:buChar char="Ø"/>
            </a:pPr>
            <a:endParaRPr lang="en-US" sz="2400" b="0"/>
          </a:p>
          <a:p>
            <a:pPr marL="457200" lvl="1" indent="-457200">
              <a:buFont typeface="Wingdings" panose="05000000000000000000" pitchFamily="2" charset="2"/>
              <a:buChar char="Ø"/>
            </a:pPr>
            <a:r>
              <a:rPr lang="en-US" sz="2400"/>
              <a:t>Observability/Monitoring</a:t>
            </a:r>
          </a:p>
          <a:p>
            <a:pPr marL="723841" lvl="2" indent="-457200">
              <a:buFont typeface="Wingdings" panose="05000000000000000000" pitchFamily="2" charset="2"/>
              <a:buChar char="Ø"/>
            </a:pPr>
            <a:r>
              <a:rPr lang="en-US" sz="2400" b="0"/>
              <a:t>Aspire </a:t>
            </a:r>
            <a:r>
              <a:rPr lang="en-US" sz="2400" b="0" err="1"/>
              <a:t>bietet</a:t>
            </a:r>
            <a:r>
              <a:rPr lang="en-US" sz="2400" b="0"/>
              <a:t> </a:t>
            </a:r>
            <a:r>
              <a:rPr lang="en-US" sz="2400" b="0" err="1"/>
              <a:t>ein</a:t>
            </a:r>
            <a:r>
              <a:rPr lang="en-US" sz="2400" b="0"/>
              <a:t> Dashboard </a:t>
            </a:r>
            <a:r>
              <a:rPr lang="en-US" sz="2400" b="0" err="1"/>
              <a:t>als</a:t>
            </a:r>
            <a:r>
              <a:rPr lang="en-US" sz="2400" b="0"/>
              <a:t> </a:t>
            </a:r>
            <a:r>
              <a:rPr lang="en-US" sz="2400" b="0" err="1"/>
              <a:t>zentrale</a:t>
            </a:r>
            <a:r>
              <a:rPr lang="en-US" sz="2400" b="0"/>
              <a:t> Stelle für alle </a:t>
            </a:r>
            <a:r>
              <a:rPr lang="en-US" sz="2400" b="0" err="1"/>
              <a:t>Anwendungen</a:t>
            </a:r>
            <a:endParaRPr lang="en-US" sz="2400" b="0"/>
          </a:p>
          <a:p>
            <a:pPr marL="723841" lvl="2" indent="-457200">
              <a:buFont typeface="Wingdings" panose="05000000000000000000" pitchFamily="2" charset="2"/>
              <a:buChar char="Ø"/>
            </a:pPr>
            <a:r>
              <a:rPr lang="en-US" sz="2400" b="0" err="1"/>
              <a:t>Enthält</a:t>
            </a:r>
            <a:r>
              <a:rPr lang="en-US" sz="2400" b="0"/>
              <a:t> Health-Checks, </a:t>
            </a:r>
            <a:r>
              <a:rPr lang="en-US" sz="2400" b="0" err="1"/>
              <a:t>Telemetrie</a:t>
            </a:r>
            <a:r>
              <a:rPr lang="en-US" sz="2400" b="0"/>
              <a:t>-Daten (</a:t>
            </a:r>
            <a:r>
              <a:rPr lang="en-US" sz="2400" b="0" err="1"/>
              <a:t>OpenTelemetry</a:t>
            </a:r>
            <a:r>
              <a:rPr lang="en-US" sz="2400" b="0"/>
              <a:t>), Logging und </a:t>
            </a:r>
            <a:r>
              <a:rPr lang="en-US" sz="2400" b="0" err="1"/>
              <a:t>Metriken</a:t>
            </a:r>
            <a:endParaRPr lang="en-US" sz="2400" b="0"/>
          </a:p>
          <a:p>
            <a:pPr marL="914299" lvl="3" indent="-457200">
              <a:buFont typeface="Wingdings" panose="05000000000000000000" pitchFamily="2" charset="2"/>
              <a:buChar char="Ø"/>
            </a:pPr>
            <a:r>
              <a:rPr lang="en-US" sz="2189"/>
              <a:t>Einfache Integration möglich, z.B. Azure Monitor</a:t>
            </a:r>
            <a:endParaRPr lang="en-US" sz="2189" b="0"/>
          </a:p>
          <a:p>
            <a:pPr marL="723841" lvl="2" indent="-457200">
              <a:buFont typeface="Wingdings" panose="05000000000000000000" pitchFamily="2" charset="2"/>
              <a:buChar char="Ø"/>
            </a:pPr>
            <a:endParaRPr lang="en-US" sz="2000"/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en-US" sz="2000" b="0"/>
          </a:p>
          <a:p>
            <a:pPr marL="457200" lvl="1" indent="-457200">
              <a:buFont typeface="Wingdings" panose="05000000000000000000" pitchFamily="2" charset="2"/>
              <a:buChar char="Ø"/>
            </a:pPr>
            <a:endParaRPr lang="en-US" sz="2000" b="0"/>
          </a:p>
          <a:p>
            <a:pPr marL="723841" lvl="2" indent="-457200">
              <a:buFont typeface="Arial" panose="020B0604020202020204" pitchFamily="34" charset="0"/>
              <a:buChar char="•"/>
            </a:pPr>
            <a:endParaRPr lang="en-US" b="0"/>
          </a:p>
        </p:txBody>
      </p:sp>
    </p:spTree>
    <p:extLst>
      <p:ext uri="{BB962C8B-B14F-4D97-AF65-F5344CB8AC3E}">
        <p14:creationId xmlns:p14="http://schemas.microsoft.com/office/powerpoint/2010/main" val="40458680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0134BC-E566-9AF4-7663-90A9DC6A48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FD6A3F-F55B-036D-0146-B7A6DFEAA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.NET Aspire to the rescue …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8543E9-AFC7-EA85-AB0F-C7CBA413EF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52B5A-167D-4ED6-B7C9-BDA647A8BA51}" type="datetime1">
              <a:rPr lang="de-DE" smtClean="0"/>
              <a:t>18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FD1E66-0DC0-62FC-4331-5E9641A52A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adesso</a:t>
            </a:r>
            <a:r>
              <a:rPr lang="de-DE"/>
              <a:t> SE</a:t>
            </a:r>
          </a:p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E0ACC7-3DA9-7446-AE44-CD836C94E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6</a:t>
            </a:fld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8DC0802-4A2E-CA6F-C55D-F813289C5E6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457200" lvl="1" indent="-457200">
              <a:buFont typeface="Wingdings" panose="05000000000000000000" pitchFamily="2" charset="2"/>
              <a:buChar char="Ø"/>
            </a:pPr>
            <a:r>
              <a:rPr lang="en-US" sz="2400" err="1"/>
              <a:t>Effizienter</a:t>
            </a:r>
            <a:r>
              <a:rPr lang="en-US" sz="2400"/>
              <a:t> </a:t>
            </a:r>
            <a:r>
              <a:rPr lang="en-US" sz="2400" err="1"/>
              <a:t>arbeiten</a:t>
            </a:r>
            <a:endParaRPr lang="en-US" sz="2400"/>
          </a:p>
          <a:p>
            <a:pPr marL="723841" lvl="2" indent="-457200">
              <a:buFont typeface="Wingdings" panose="05000000000000000000" pitchFamily="2" charset="2"/>
              <a:buChar char="Ø"/>
            </a:pPr>
            <a:r>
              <a:rPr lang="en-US" sz="2400"/>
              <a:t>.NET Aspire </a:t>
            </a:r>
            <a:r>
              <a:rPr lang="en-US" sz="2400" err="1"/>
              <a:t>beinhaltet</a:t>
            </a:r>
            <a:r>
              <a:rPr lang="en-US" sz="2400"/>
              <a:t> Service Discovery und </a:t>
            </a:r>
            <a:r>
              <a:rPr lang="en-US" sz="2400" err="1"/>
              <a:t>Konfiguration</a:t>
            </a:r>
            <a:r>
              <a:rPr lang="en-US" sz="2400"/>
              <a:t> Management</a:t>
            </a:r>
          </a:p>
          <a:p>
            <a:pPr marL="914299" lvl="3" indent="-457200">
              <a:buFont typeface="Wingdings" panose="05000000000000000000" pitchFamily="2" charset="2"/>
              <a:buChar char="Ø"/>
            </a:pPr>
            <a:r>
              <a:rPr lang="en-US" sz="2189" err="1"/>
              <a:t>Zugriff</a:t>
            </a:r>
            <a:r>
              <a:rPr lang="en-US" sz="2189"/>
              <a:t> auf die </a:t>
            </a:r>
            <a:r>
              <a:rPr lang="en-US" sz="2189" err="1"/>
              <a:t>Applikationen</a:t>
            </a:r>
            <a:r>
              <a:rPr lang="en-US" sz="2189"/>
              <a:t> via Name </a:t>
            </a:r>
            <a:r>
              <a:rPr lang="en-US" sz="2189" err="1"/>
              <a:t>auch</a:t>
            </a:r>
            <a:r>
              <a:rPr lang="en-US" sz="2189"/>
              <a:t> </a:t>
            </a:r>
            <a:r>
              <a:rPr lang="en-US" sz="2189" err="1"/>
              <a:t>im</a:t>
            </a:r>
            <a:r>
              <a:rPr lang="en-US" sz="2189"/>
              <a:t> Code</a:t>
            </a:r>
          </a:p>
          <a:p>
            <a:pPr marL="914299" lvl="3" indent="-457200">
              <a:buFont typeface="Wingdings" panose="05000000000000000000" pitchFamily="2" charset="2"/>
              <a:buChar char="Ø"/>
            </a:pPr>
            <a:r>
              <a:rPr lang="en-US" sz="2189" err="1"/>
              <a:t>Starten</a:t>
            </a:r>
            <a:r>
              <a:rPr lang="en-US" sz="2189"/>
              <a:t> von </a:t>
            </a:r>
            <a:r>
              <a:rPr lang="en-US" sz="2189" err="1"/>
              <a:t>Systemen</a:t>
            </a:r>
            <a:r>
              <a:rPr lang="en-US" sz="2189"/>
              <a:t> in </a:t>
            </a:r>
            <a:r>
              <a:rPr lang="en-US" sz="2189" err="1"/>
              <a:t>korrekter</a:t>
            </a:r>
            <a:r>
              <a:rPr lang="en-US" sz="2189"/>
              <a:t> </a:t>
            </a:r>
            <a:r>
              <a:rPr lang="en-US" sz="2189" err="1"/>
              <a:t>Reihenfolge</a:t>
            </a:r>
            <a:endParaRPr lang="en-US" sz="2189"/>
          </a:p>
          <a:p>
            <a:pPr marL="1142849" lvl="4" indent="-457200">
              <a:buFont typeface="Wingdings" panose="05000000000000000000" pitchFamily="2" charset="2"/>
              <a:buChar char="Ø"/>
            </a:pPr>
            <a:r>
              <a:rPr lang="en-US" sz="1977"/>
              <a:t>Wenn </a:t>
            </a:r>
            <a:r>
              <a:rPr lang="en-US" sz="1977" err="1"/>
              <a:t>Anwendung</a:t>
            </a:r>
            <a:r>
              <a:rPr lang="en-US" sz="1977"/>
              <a:t> A </a:t>
            </a:r>
            <a:r>
              <a:rPr lang="en-US" sz="1977" err="1"/>
              <a:t>zwingend</a:t>
            </a:r>
            <a:r>
              <a:rPr lang="en-US" sz="1977"/>
              <a:t> </a:t>
            </a:r>
            <a:r>
              <a:rPr lang="en-US" sz="1977" err="1"/>
              <a:t>Anwendung</a:t>
            </a:r>
            <a:r>
              <a:rPr lang="en-US" sz="1977"/>
              <a:t> B </a:t>
            </a:r>
            <a:r>
              <a:rPr lang="en-US" sz="1977" err="1"/>
              <a:t>benötigt</a:t>
            </a:r>
            <a:r>
              <a:rPr lang="en-US" sz="1977"/>
              <a:t>, </a:t>
            </a:r>
            <a:r>
              <a:rPr lang="en-US" sz="1977" err="1"/>
              <a:t>kann</a:t>
            </a:r>
            <a:r>
              <a:rPr lang="en-US" sz="1977"/>
              <a:t> </a:t>
            </a:r>
            <a:r>
              <a:rPr lang="en-US" sz="1977" err="1"/>
              <a:t>konfiguriert</a:t>
            </a:r>
            <a:r>
              <a:rPr lang="en-US" sz="1977"/>
              <a:t> </a:t>
            </a:r>
            <a:r>
              <a:rPr lang="en-US" sz="1977" err="1"/>
              <a:t>werden</a:t>
            </a:r>
            <a:r>
              <a:rPr lang="en-US" sz="1977"/>
              <a:t> </a:t>
            </a:r>
            <a:r>
              <a:rPr lang="en-US" sz="1977" err="1"/>
              <a:t>dass</a:t>
            </a:r>
            <a:r>
              <a:rPr lang="en-US" sz="1977"/>
              <a:t> </a:t>
            </a:r>
            <a:r>
              <a:rPr lang="en-US" sz="1977" err="1"/>
              <a:t>Anwendung</a:t>
            </a:r>
            <a:r>
              <a:rPr lang="en-US" sz="1977"/>
              <a:t> A erst </a:t>
            </a:r>
            <a:r>
              <a:rPr lang="en-US" sz="1977" err="1"/>
              <a:t>startet</a:t>
            </a:r>
            <a:r>
              <a:rPr lang="en-US" sz="1977"/>
              <a:t>, </a:t>
            </a:r>
            <a:r>
              <a:rPr lang="en-US" sz="1977" err="1"/>
              <a:t>nachdem</a:t>
            </a:r>
            <a:r>
              <a:rPr lang="en-US" sz="1977"/>
              <a:t> </a:t>
            </a:r>
            <a:r>
              <a:rPr lang="en-US" sz="1977" err="1"/>
              <a:t>Anwendung</a:t>
            </a:r>
            <a:r>
              <a:rPr lang="en-US" sz="1977"/>
              <a:t> B </a:t>
            </a:r>
            <a:r>
              <a:rPr lang="en-US" sz="1977" err="1"/>
              <a:t>gestartet</a:t>
            </a:r>
            <a:r>
              <a:rPr lang="en-US" sz="1977"/>
              <a:t> </a:t>
            </a:r>
            <a:r>
              <a:rPr lang="en-US" sz="1977" err="1"/>
              <a:t>wurde</a:t>
            </a:r>
            <a:r>
              <a:rPr lang="en-US" sz="1977"/>
              <a:t> und </a:t>
            </a:r>
            <a:r>
              <a:rPr lang="en-US" sz="1977" err="1"/>
              <a:t>läuft</a:t>
            </a:r>
            <a:endParaRPr lang="en-US" sz="1977"/>
          </a:p>
          <a:p>
            <a:pPr marL="914299" lvl="3" indent="-457200">
              <a:buFont typeface="Wingdings" panose="05000000000000000000" pitchFamily="2" charset="2"/>
              <a:buChar char="Ø"/>
            </a:pPr>
            <a:r>
              <a:rPr lang="en-US" sz="2189" err="1"/>
              <a:t>Konfiguration</a:t>
            </a:r>
            <a:r>
              <a:rPr lang="en-US" sz="2189"/>
              <a:t> der </a:t>
            </a:r>
            <a:r>
              <a:rPr lang="en-US" sz="2189" err="1"/>
              <a:t>Anwendungen</a:t>
            </a:r>
            <a:r>
              <a:rPr lang="en-US" sz="2189"/>
              <a:t> an </a:t>
            </a:r>
            <a:r>
              <a:rPr lang="en-US" sz="2189" err="1"/>
              <a:t>einer</a:t>
            </a:r>
            <a:r>
              <a:rPr lang="en-US" sz="2189"/>
              <a:t> Stelle</a:t>
            </a:r>
          </a:p>
          <a:p>
            <a:pPr marL="723841" lvl="2" indent="-457200">
              <a:buFont typeface="Wingdings" panose="05000000000000000000" pitchFamily="2" charset="2"/>
              <a:buChar char="Ø"/>
            </a:pPr>
            <a:endParaRPr lang="en-US" sz="2000"/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en-US" sz="2000" b="0"/>
          </a:p>
          <a:p>
            <a:pPr marL="457200" lvl="1" indent="-457200">
              <a:buFont typeface="Wingdings" panose="05000000000000000000" pitchFamily="2" charset="2"/>
              <a:buChar char="Ø"/>
            </a:pPr>
            <a:endParaRPr lang="en-US" sz="2000" b="0"/>
          </a:p>
          <a:p>
            <a:pPr marL="723841" lvl="2" indent="-457200">
              <a:buFont typeface="Arial" panose="020B0604020202020204" pitchFamily="34" charset="0"/>
              <a:buChar char="•"/>
            </a:pPr>
            <a:endParaRPr lang="en-US" b="0"/>
          </a:p>
        </p:txBody>
      </p:sp>
    </p:spTree>
    <p:extLst>
      <p:ext uri="{BB962C8B-B14F-4D97-AF65-F5344CB8AC3E}">
        <p14:creationId xmlns:p14="http://schemas.microsoft.com/office/powerpoint/2010/main" val="12679933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5453F3-AA2B-F514-8EA5-B2C0EC85DE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258EB3-1548-80D3-94FE-B6E11D7FE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.NET Aspire to the rescue …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66976B-C832-1103-5451-EA4DA8EC4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52B5A-167D-4ED6-B7C9-BDA647A8BA51}" type="datetime1">
              <a:rPr lang="de-DE" smtClean="0"/>
              <a:t>18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15E2D4-CA1F-4A1A-F4B5-19317E7E4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adesso</a:t>
            </a:r>
            <a:r>
              <a:rPr lang="de-DE"/>
              <a:t> SE</a:t>
            </a:r>
          </a:p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9C20A0-8B89-C9FF-FE6B-BEDC125E78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7</a:t>
            </a:fld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5D6E2E0-D2CF-6F0E-ECC8-4D695FDCEA1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457200" lvl="1" indent="-457200">
              <a:buFont typeface="Wingdings" panose="05000000000000000000" pitchFamily="2" charset="2"/>
              <a:buChar char="Ø"/>
            </a:pPr>
            <a:r>
              <a:rPr lang="en-US" sz="2400"/>
              <a:t>.NET Aspire Integrations</a:t>
            </a:r>
          </a:p>
          <a:p>
            <a:pPr marL="723841" lvl="2" indent="-457200">
              <a:buFont typeface="Wingdings" panose="05000000000000000000" pitchFamily="2" charset="2"/>
              <a:buChar char="Ø"/>
            </a:pPr>
            <a:r>
              <a:rPr lang="en-US" sz="2400" err="1"/>
              <a:t>Einbinden</a:t>
            </a:r>
            <a:r>
              <a:rPr lang="en-US" sz="2400"/>
              <a:t> </a:t>
            </a:r>
            <a:r>
              <a:rPr lang="en-US" sz="2400" err="1"/>
              <a:t>externer</a:t>
            </a:r>
            <a:r>
              <a:rPr lang="en-US" sz="2400"/>
              <a:t> Tools/Docker-Container</a:t>
            </a:r>
          </a:p>
          <a:p>
            <a:pPr marL="914299" lvl="3" indent="-457200">
              <a:buFont typeface="Wingdings" panose="05000000000000000000" pitchFamily="2" charset="2"/>
              <a:buChar char="Ø"/>
            </a:pPr>
            <a:r>
              <a:rPr lang="en-US" sz="2189"/>
              <a:t>.NET Aspire </a:t>
            </a:r>
            <a:r>
              <a:rPr lang="en-US" sz="2189" err="1"/>
              <a:t>lädt</a:t>
            </a:r>
            <a:r>
              <a:rPr lang="en-US" sz="2189"/>
              <a:t> Docker-Container </a:t>
            </a:r>
            <a:r>
              <a:rPr lang="en-US" sz="2189" err="1"/>
              <a:t>automatisch</a:t>
            </a:r>
            <a:r>
              <a:rPr lang="en-US" sz="2189"/>
              <a:t> </a:t>
            </a:r>
            <a:r>
              <a:rPr lang="en-US" sz="2189" err="1"/>
              <a:t>herunter</a:t>
            </a:r>
            <a:r>
              <a:rPr lang="en-US" sz="2189"/>
              <a:t> und </a:t>
            </a:r>
            <a:r>
              <a:rPr lang="en-US" sz="2189" err="1"/>
              <a:t>startet</a:t>
            </a:r>
            <a:r>
              <a:rPr lang="en-US" sz="2189"/>
              <a:t> </a:t>
            </a:r>
            <a:r>
              <a:rPr lang="en-US" sz="2189" err="1"/>
              <a:t>sie</a:t>
            </a:r>
            <a:endParaRPr lang="en-US" sz="2189"/>
          </a:p>
          <a:p>
            <a:pPr marL="914299" lvl="3" indent="-457200">
              <a:buFont typeface="Wingdings" panose="05000000000000000000" pitchFamily="2" charset="2"/>
              <a:buChar char="Ø"/>
            </a:pPr>
            <a:r>
              <a:rPr lang="en-US" sz="2189"/>
              <a:t>Docker for Windows muss </a:t>
            </a:r>
            <a:r>
              <a:rPr lang="en-US" sz="2189" err="1"/>
              <a:t>installiert</a:t>
            </a:r>
            <a:r>
              <a:rPr lang="en-US" sz="2189"/>
              <a:t> sein und </a:t>
            </a:r>
            <a:r>
              <a:rPr lang="en-US" sz="2189" err="1"/>
              <a:t>laufen</a:t>
            </a:r>
            <a:endParaRPr lang="en-US" sz="2189"/>
          </a:p>
          <a:p>
            <a:pPr marL="723841" lvl="2" indent="-457200">
              <a:buFont typeface="Wingdings" panose="05000000000000000000" pitchFamily="2" charset="2"/>
              <a:buChar char="Ø"/>
            </a:pPr>
            <a:endParaRPr lang="en-US" sz="2400"/>
          </a:p>
          <a:p>
            <a:pPr marL="723841" lvl="2" indent="-457200">
              <a:buFont typeface="Wingdings" panose="05000000000000000000" pitchFamily="2" charset="2"/>
              <a:buChar char="Ø"/>
            </a:pPr>
            <a:r>
              <a:rPr lang="en-US" sz="2400" err="1"/>
              <a:t>U.a.</a:t>
            </a:r>
            <a:r>
              <a:rPr lang="en-US" sz="2400"/>
              <a:t> </a:t>
            </a:r>
            <a:r>
              <a:rPr lang="en-US" sz="2400" err="1"/>
              <a:t>verfügbare</a:t>
            </a:r>
            <a:r>
              <a:rPr lang="en-US" sz="2400"/>
              <a:t> </a:t>
            </a:r>
            <a:r>
              <a:rPr lang="en-US" sz="2400" err="1"/>
              <a:t>Integrationen</a:t>
            </a:r>
            <a:r>
              <a:rPr lang="en-US" sz="2400"/>
              <a:t>:</a:t>
            </a:r>
          </a:p>
          <a:p>
            <a:pPr marL="914299" lvl="3" indent="-457200">
              <a:buFont typeface="Wingdings" panose="05000000000000000000" pitchFamily="2" charset="2"/>
              <a:buChar char="Ø"/>
            </a:pPr>
            <a:r>
              <a:rPr lang="en-US" sz="2189"/>
              <a:t>Redis Caching, </a:t>
            </a:r>
            <a:r>
              <a:rPr lang="en-US" sz="2189" err="1"/>
              <a:t>PostgreSql</a:t>
            </a:r>
            <a:r>
              <a:rPr lang="en-US" sz="2189"/>
              <a:t>, RabbitMQ, Kafka, Azure Storage/Blob Storage, </a:t>
            </a:r>
            <a:r>
              <a:rPr lang="en-US" sz="2189" err="1"/>
              <a:t>ElasticSearch</a:t>
            </a:r>
            <a:r>
              <a:rPr lang="en-US" sz="2189"/>
              <a:t>, etc.</a:t>
            </a:r>
          </a:p>
          <a:p>
            <a:pPr marL="914299" lvl="3" indent="-457200">
              <a:buFont typeface="Wingdings" panose="05000000000000000000" pitchFamily="2" charset="2"/>
              <a:buChar char="Ø"/>
            </a:pPr>
            <a:r>
              <a:rPr lang="en-US" sz="2189" err="1"/>
              <a:t>Komplette</a:t>
            </a:r>
            <a:r>
              <a:rPr lang="en-US" sz="2189"/>
              <a:t> </a:t>
            </a:r>
            <a:r>
              <a:rPr lang="en-US" sz="2189" err="1"/>
              <a:t>Liste</a:t>
            </a:r>
            <a:r>
              <a:rPr lang="en-US" sz="2189"/>
              <a:t>: </a:t>
            </a:r>
            <a:r>
              <a:rPr lang="en-US" sz="2189">
                <a:hlinkClick r:id="rId2"/>
              </a:rPr>
              <a:t>https://learn.microsoft.com/en-us/dotnet/aspire/fundamentals/integrations-overview</a:t>
            </a:r>
            <a:endParaRPr lang="en-US" sz="2189"/>
          </a:p>
          <a:p>
            <a:pPr marL="914299" lvl="3" indent="-457200">
              <a:buFont typeface="Wingdings" panose="05000000000000000000" pitchFamily="2" charset="2"/>
              <a:buChar char="Ø"/>
            </a:pPr>
            <a:endParaRPr lang="en-US" sz="2189"/>
          </a:p>
          <a:p>
            <a:pPr marL="723841" lvl="2" indent="-457200">
              <a:buFont typeface="Wingdings" panose="05000000000000000000" pitchFamily="2" charset="2"/>
              <a:buChar char="Ø"/>
            </a:pPr>
            <a:endParaRPr lang="en-US" sz="2400"/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en-US" sz="2000" b="0"/>
          </a:p>
          <a:p>
            <a:pPr marL="457200" lvl="1" indent="-457200">
              <a:buFont typeface="Wingdings" panose="05000000000000000000" pitchFamily="2" charset="2"/>
              <a:buChar char="Ø"/>
            </a:pPr>
            <a:endParaRPr lang="en-US" sz="2000" b="0"/>
          </a:p>
          <a:p>
            <a:pPr marL="723841" lvl="2" indent="-457200">
              <a:buFont typeface="Arial" panose="020B0604020202020204" pitchFamily="34" charset="0"/>
              <a:buChar char="•"/>
            </a:pPr>
            <a:endParaRPr lang="en-US" b="0"/>
          </a:p>
        </p:txBody>
      </p:sp>
    </p:spTree>
    <p:extLst>
      <p:ext uri="{BB962C8B-B14F-4D97-AF65-F5344CB8AC3E}">
        <p14:creationId xmlns:p14="http://schemas.microsoft.com/office/powerpoint/2010/main" val="41070978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ABAAA1-5A8E-D700-E0F7-D0C57DB503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976C41-1741-F9B0-1398-93FE535628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.NET Aspire to the rescue …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FEC889-667F-3D6D-1216-78FD0AE44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52B5A-167D-4ED6-B7C9-BDA647A8BA51}" type="datetime1">
              <a:rPr lang="de-DE" smtClean="0"/>
              <a:t>18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81291C-35C1-138A-C62B-D580455C74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adesso</a:t>
            </a:r>
            <a:r>
              <a:rPr lang="de-DE"/>
              <a:t> SE</a:t>
            </a:r>
          </a:p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251CAA-ED8A-11F1-98CA-F66BBE23B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8</a:t>
            </a:fld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FA8EF4B-63DB-ECDD-019B-1D2E8329EE6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9768" y="1599416"/>
            <a:ext cx="11364895" cy="4954494"/>
          </a:xfrm>
        </p:spPr>
        <p:txBody>
          <a:bodyPr/>
          <a:lstStyle/>
          <a:p>
            <a:pPr marL="457200" lvl="1" indent="-457200">
              <a:buFont typeface="Wingdings" panose="05000000000000000000" pitchFamily="2" charset="2"/>
              <a:buChar char="Ø"/>
            </a:pPr>
            <a:r>
              <a:rPr lang="en-US" sz="2400"/>
              <a:t>.NET Aspire </a:t>
            </a:r>
            <a:r>
              <a:rPr lang="en-US" sz="2400" err="1"/>
              <a:t>kann</a:t>
            </a:r>
            <a:r>
              <a:rPr lang="en-US" sz="2400"/>
              <a:t> Pipelines </a:t>
            </a:r>
            <a:r>
              <a:rPr lang="en-US" sz="2400" err="1"/>
              <a:t>erzeugen</a:t>
            </a:r>
            <a:endParaRPr lang="en-US" sz="2400"/>
          </a:p>
          <a:p>
            <a:pPr marL="723841" lvl="2" indent="-457200">
              <a:buFont typeface="Wingdings" panose="05000000000000000000" pitchFamily="2" charset="2"/>
              <a:buChar char="Ø"/>
            </a:pPr>
            <a:r>
              <a:rPr lang="en-US" sz="2400"/>
              <a:t>Die </a:t>
            </a:r>
            <a:r>
              <a:rPr lang="en-US" sz="2400" err="1"/>
              <a:t>Projekte</a:t>
            </a:r>
            <a:r>
              <a:rPr lang="en-US" sz="2400"/>
              <a:t> </a:t>
            </a:r>
            <a:r>
              <a:rPr lang="en-US" sz="2400" err="1"/>
              <a:t>können</a:t>
            </a:r>
            <a:r>
              <a:rPr lang="en-US" sz="2400"/>
              <a:t> </a:t>
            </a:r>
            <a:r>
              <a:rPr lang="en-US" sz="2400" err="1"/>
              <a:t>praktisch</a:t>
            </a:r>
            <a:r>
              <a:rPr lang="en-US" sz="2400"/>
              <a:t> </a:t>
            </a:r>
            <a:r>
              <a:rPr lang="en-US" sz="2400" err="1"/>
              <a:t>direkt</a:t>
            </a:r>
            <a:r>
              <a:rPr lang="en-US" sz="2400"/>
              <a:t> </a:t>
            </a:r>
            <a:r>
              <a:rPr lang="en-US" sz="2400" err="1"/>
              <a:t>nach</a:t>
            </a:r>
            <a:r>
              <a:rPr lang="en-US" sz="2400"/>
              <a:t> Azure deployed </a:t>
            </a:r>
            <a:r>
              <a:rPr lang="en-US" sz="2400" err="1"/>
              <a:t>werden</a:t>
            </a:r>
            <a:endParaRPr lang="en-US" sz="2400"/>
          </a:p>
          <a:p>
            <a:pPr marL="914299" lvl="3" indent="-457200">
              <a:buFont typeface="Wingdings" panose="05000000000000000000" pitchFamily="2" charset="2"/>
              <a:buChar char="Ø"/>
            </a:pPr>
            <a:r>
              <a:rPr lang="en-US" sz="2189"/>
              <a:t>Als Azure Container Apps </a:t>
            </a:r>
            <a:r>
              <a:rPr lang="en-US" sz="2189" err="1"/>
              <a:t>oder</a:t>
            </a:r>
            <a:r>
              <a:rPr lang="en-US" sz="2189"/>
              <a:t> </a:t>
            </a:r>
            <a:r>
              <a:rPr lang="en-US" sz="2189" err="1"/>
              <a:t>auch</a:t>
            </a:r>
            <a:r>
              <a:rPr lang="en-US" sz="2189"/>
              <a:t> </a:t>
            </a:r>
            <a:r>
              <a:rPr lang="en-US" sz="2189" err="1"/>
              <a:t>nach</a:t>
            </a:r>
            <a:r>
              <a:rPr lang="en-US" sz="2189"/>
              <a:t> Kubernetes</a:t>
            </a:r>
          </a:p>
          <a:p>
            <a:pPr marL="914299" lvl="3" indent="-457200">
              <a:buFont typeface="Wingdings" panose="05000000000000000000" pitchFamily="2" charset="2"/>
              <a:buChar char="Ø"/>
            </a:pPr>
            <a:endParaRPr lang="en-US" sz="2189"/>
          </a:p>
          <a:p>
            <a:pPr marL="723841" lvl="2" indent="-457200">
              <a:buFont typeface="Wingdings" panose="05000000000000000000" pitchFamily="2" charset="2"/>
              <a:buChar char="Ø"/>
            </a:pPr>
            <a:r>
              <a:rPr lang="en-US" sz="2400" err="1"/>
              <a:t>Siehe</a:t>
            </a:r>
            <a:r>
              <a:rPr lang="en-US" sz="2400"/>
              <a:t> </a:t>
            </a:r>
            <a:r>
              <a:rPr lang="en-US" sz="2400" err="1"/>
              <a:t>auch</a:t>
            </a:r>
            <a:r>
              <a:rPr lang="en-US" sz="2400"/>
              <a:t>:</a:t>
            </a:r>
          </a:p>
          <a:p>
            <a:pPr marL="914299" lvl="3" indent="-457200">
              <a:buFont typeface="Wingdings" panose="05000000000000000000" pitchFamily="2" charset="2"/>
              <a:buChar char="Ø"/>
            </a:pPr>
            <a:r>
              <a:rPr lang="en-US" sz="2189" err="1"/>
              <a:t>Überblick</a:t>
            </a:r>
            <a:r>
              <a:rPr lang="en-US" sz="2189"/>
              <a:t>: </a:t>
            </a:r>
            <a:r>
              <a:rPr lang="en-US" sz="2189">
                <a:hlinkClick r:id="rId2"/>
              </a:rPr>
              <a:t>https://learn.microsoft.com/en-us/dotnet/aspire/deployment/overview</a:t>
            </a:r>
            <a:endParaRPr lang="en-US" sz="2189"/>
          </a:p>
          <a:p>
            <a:pPr marL="914299" lvl="3" indent="-457200">
              <a:buFont typeface="Wingdings" panose="05000000000000000000" pitchFamily="2" charset="2"/>
              <a:buChar char="Ø"/>
            </a:pPr>
            <a:r>
              <a:rPr lang="en-US" sz="2189"/>
              <a:t>Aspir8-Project: </a:t>
            </a:r>
            <a:r>
              <a:rPr lang="en-US" sz="2189">
                <a:hlinkClick r:id="rId3"/>
              </a:rPr>
              <a:t>https://prom3theu5.github.io/aspirational-manifests/getting-started.html</a:t>
            </a:r>
            <a:endParaRPr lang="en-US" sz="2189"/>
          </a:p>
          <a:p>
            <a:pPr marL="914299" lvl="3" indent="-457200">
              <a:buFont typeface="Wingdings" panose="05000000000000000000" pitchFamily="2" charset="2"/>
              <a:buChar char="Ø"/>
            </a:pPr>
            <a:r>
              <a:rPr lang="en-US" sz="2189"/>
              <a:t>Deployment </a:t>
            </a:r>
            <a:r>
              <a:rPr lang="en-US" sz="2189" err="1"/>
              <a:t>mittels</a:t>
            </a:r>
            <a:r>
              <a:rPr lang="en-US" sz="2189"/>
              <a:t> Azure Developer CLI: </a:t>
            </a:r>
            <a:r>
              <a:rPr lang="en-US" sz="2189">
                <a:hlinkClick r:id="rId4"/>
              </a:rPr>
              <a:t>https://learn.microsoft.com/en-us/dotnet/aspire/deployment/azure/aca-deployment</a:t>
            </a:r>
            <a:endParaRPr lang="en-US" sz="2189"/>
          </a:p>
          <a:p>
            <a:pPr marL="914299" lvl="3" indent="-457200">
              <a:buFont typeface="Wingdings" panose="05000000000000000000" pitchFamily="2" charset="2"/>
              <a:buChar char="Ø"/>
            </a:pPr>
            <a:endParaRPr lang="en-US" sz="2189"/>
          </a:p>
          <a:p>
            <a:pPr marL="723841" lvl="2" indent="-457200">
              <a:buFont typeface="Wingdings" panose="05000000000000000000" pitchFamily="2" charset="2"/>
              <a:buChar char="Ø"/>
            </a:pPr>
            <a:endParaRPr lang="en-US" sz="2400"/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en-US" sz="2000" b="0"/>
          </a:p>
          <a:p>
            <a:pPr marL="457200" lvl="1" indent="-457200">
              <a:buFont typeface="Wingdings" panose="05000000000000000000" pitchFamily="2" charset="2"/>
              <a:buChar char="Ø"/>
            </a:pPr>
            <a:endParaRPr lang="en-US" sz="2000" b="0"/>
          </a:p>
          <a:p>
            <a:pPr marL="723841" lvl="2" indent="-457200">
              <a:buFont typeface="Arial" panose="020B0604020202020204" pitchFamily="34" charset="0"/>
              <a:buChar char="•"/>
            </a:pPr>
            <a:endParaRPr lang="en-US" b="0"/>
          </a:p>
        </p:txBody>
      </p:sp>
    </p:spTree>
    <p:extLst>
      <p:ext uri="{BB962C8B-B14F-4D97-AF65-F5344CB8AC3E}">
        <p14:creationId xmlns:p14="http://schemas.microsoft.com/office/powerpoint/2010/main" val="11569598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85A6FC-9B11-7B2A-33F9-B199801AEC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6C82A5-F656-E5B8-DF1D-214DFC1EE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826" y="738657"/>
            <a:ext cx="10209625" cy="732069"/>
          </a:xfrm>
        </p:spPr>
        <p:txBody>
          <a:bodyPr/>
          <a:lstStyle/>
          <a:p>
            <a:r>
              <a:rPr lang="en-US"/>
              <a:t>Neu in Aspire Version 9.4 …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96F27-9D11-0455-A46D-D5EA761C49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52B5A-167D-4ED6-B7C9-BDA647A8BA51}" type="datetime1">
              <a:rPr lang="de-DE" smtClean="0"/>
              <a:t>18.09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CC5AE0-9A37-F28B-BB7B-57D2E0315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adesso</a:t>
            </a:r>
            <a:r>
              <a:rPr lang="de-DE"/>
              <a:t> SE</a:t>
            </a:r>
          </a:p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D494FC-1DC0-9A74-E80E-B00BA388C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9</a:t>
            </a:fld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4D9B26-35BE-E027-0F1D-AD9B33263DF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9769" y="1599416"/>
            <a:ext cx="11285382" cy="4954494"/>
          </a:xfrm>
        </p:spPr>
        <p:txBody>
          <a:bodyPr/>
          <a:lstStyle/>
          <a:p>
            <a:pPr marL="457200" lvl="1" indent="-457200">
              <a:buFont typeface="Wingdings" panose="05000000000000000000" pitchFamily="2" charset="2"/>
              <a:buChar char="Ø"/>
            </a:pPr>
            <a:r>
              <a:rPr lang="en-US" sz="2400"/>
              <a:t>ASP.NET Aspire wird ständig upgedated</a:t>
            </a:r>
          </a:p>
          <a:p>
            <a:pPr marL="723841" lvl="2" indent="-457200">
              <a:buFont typeface="Wingdings" panose="05000000000000000000" pitchFamily="2" charset="2"/>
              <a:buChar char="Ø"/>
            </a:pPr>
            <a:r>
              <a:rPr lang="en-US" sz="2400"/>
              <a:t>Unabhängig vom .NET-Lebenszyklus</a:t>
            </a:r>
          </a:p>
          <a:p>
            <a:pPr marL="723841" lvl="2" indent="-457200">
              <a:buFont typeface="Wingdings" panose="05000000000000000000" pitchFamily="2" charset="2"/>
              <a:buChar char="Ø"/>
            </a:pPr>
            <a:r>
              <a:rPr lang="en-US" sz="2400"/>
              <a:t>Templates für das Visual Studio können ebenfalls upgedated werden (ohne Update des Visual Studio selbst)</a:t>
            </a:r>
          </a:p>
          <a:p>
            <a:pPr marL="723841" lvl="2" indent="-457200">
              <a:buFont typeface="Wingdings" panose="05000000000000000000" pitchFamily="2" charset="2"/>
              <a:buChar char="Ø"/>
            </a:pPr>
            <a:endParaRPr lang="en-US" sz="2400"/>
          </a:p>
          <a:p>
            <a:pPr marL="457200" lvl="1" indent="-457200">
              <a:buFont typeface="Wingdings" panose="05000000000000000000" pitchFamily="2" charset="2"/>
              <a:buChar char="Ø"/>
            </a:pPr>
            <a:r>
              <a:rPr lang="en-US" sz="2400"/>
              <a:t>Alle Neuerungen sind auf der offiziellen Seite aufgelistet:</a:t>
            </a:r>
          </a:p>
          <a:p>
            <a:pPr marL="723841" lvl="2" indent="-457200">
              <a:buFont typeface="Wingdings" panose="05000000000000000000" pitchFamily="2" charset="2"/>
              <a:buChar char="Ø"/>
            </a:pPr>
            <a:r>
              <a:rPr lang="en-US" sz="2189">
                <a:hlinkClick r:id="rId2"/>
              </a:rPr>
              <a:t>https://learn.microsoft.com/en-us/dotnet/aspire/whats-new/dotnet-aspire-X.x</a:t>
            </a:r>
            <a:endParaRPr lang="en-US" sz="2189"/>
          </a:p>
          <a:p>
            <a:pPr marL="1142849" lvl="4" indent="-457200">
              <a:buFont typeface="Wingdings" panose="05000000000000000000" pitchFamily="2" charset="2"/>
              <a:buChar char="Ø"/>
            </a:pPr>
            <a:r>
              <a:rPr lang="en-US" sz="1977"/>
              <a:t>Z.B: 9.4: </a:t>
            </a:r>
            <a:r>
              <a:rPr lang="en-US" sz="1977">
                <a:hlinkClick r:id="rId3"/>
              </a:rPr>
              <a:t>https://learn.microsoft.com/en-us/dotnet/aspire/whats-new/dotnet-aspire-9.4</a:t>
            </a:r>
            <a:endParaRPr lang="en-US" sz="1977"/>
          </a:p>
          <a:p>
            <a:pPr marL="723841" lvl="2" indent="-457200">
              <a:buFont typeface="Wingdings" panose="05000000000000000000" pitchFamily="2" charset="2"/>
              <a:buChar char="Ø"/>
            </a:pPr>
            <a:endParaRPr lang="en-US" sz="2400"/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en-US" sz="2000" b="0"/>
          </a:p>
          <a:p>
            <a:pPr marL="457200" lvl="1" indent="-457200">
              <a:buFont typeface="Wingdings" panose="05000000000000000000" pitchFamily="2" charset="2"/>
              <a:buChar char="Ø"/>
            </a:pPr>
            <a:endParaRPr lang="en-US" sz="2000" b="0"/>
          </a:p>
          <a:p>
            <a:pPr marL="723841" lvl="2" indent="-457200">
              <a:buFont typeface="Arial" panose="020B0604020202020204" pitchFamily="34" charset="0"/>
              <a:buChar char="•"/>
            </a:pPr>
            <a:endParaRPr lang="en-US" b="0"/>
          </a:p>
        </p:txBody>
      </p:sp>
    </p:spTree>
    <p:extLst>
      <p:ext uri="{BB962C8B-B14F-4D97-AF65-F5344CB8AC3E}">
        <p14:creationId xmlns:p14="http://schemas.microsoft.com/office/powerpoint/2010/main" val="31729531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0_Vorlage-Master.pptx" id="{CC87B76F-10C1-4715-ACFA-9AF3F28DD60A}" vid="{42368C26-2B42-41FE-A529-37463017AE02}"/>
    </a:ext>
  </a:extLst>
</a:theme>
</file>

<file path=ppt/theme/theme2.xml><?xml version="1.0" encoding="utf-8"?>
<a:theme xmlns:a="http://schemas.openxmlformats.org/drawingml/2006/main" name="adesso_Beispielseiten_16zu9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_Vorlage-Master.pptx" id="{CC87B76F-10C1-4715-ACFA-9AF3F28DD60A}" vid="{84F99523-C7FA-4C17-8589-B7B821AAF7FE}"/>
    </a:ext>
  </a:extLst>
</a:theme>
</file>

<file path=ppt/theme/theme3.xml><?xml version="1.0" encoding="utf-8"?>
<a:theme xmlns:a="http://schemas.openxmlformats.org/drawingml/2006/main" name="1_adesso_Beispielseiten_16zu9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_Vorlage-Master.pptx" id="{CC87B76F-10C1-4715-ACFA-9AF3F28DD60A}" vid="{C36B6182-65FE-47D0-BC58-59614FDCDC32}"/>
    </a:ext>
  </a:extLst>
</a:theme>
</file>

<file path=ppt/theme/theme4.xml><?xml version="1.0" encoding="utf-8"?>
<a:theme xmlns:a="http://schemas.openxmlformats.org/drawingml/2006/main" name="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_Vorlage-Master.pptx" id="{CC87B76F-10C1-4715-ACFA-9AF3F28DD60A}" vid="{017538FE-B276-4AC4-868C-5BECC87569C2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7E5D50EC3947644AE73B73662DBDAAC" ma:contentTypeVersion="15" ma:contentTypeDescription="Ein neues Dokument erstellen." ma:contentTypeScope="" ma:versionID="33262e074046e1fd21439e915e9f31be">
  <xsd:schema xmlns:xsd="http://www.w3.org/2001/XMLSchema" xmlns:xs="http://www.w3.org/2001/XMLSchema" xmlns:p="http://schemas.microsoft.com/office/2006/metadata/properties" xmlns:ns2="4a9bbce6-71c5-419b-9376-fc61f576457c" xmlns:ns3="28534380-d675-4fb2-8d59-80938165a9e4" targetNamespace="http://schemas.microsoft.com/office/2006/metadata/properties" ma:root="true" ma:fieldsID="3b83699908dcc733d9d3a6c4ab0718aa" ns2:_="" ns3:_="">
    <xsd:import namespace="4a9bbce6-71c5-419b-9376-fc61f576457c"/>
    <xsd:import namespace="28534380-d675-4fb2-8d59-80938165a9e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9bbce6-71c5-419b-9376-fc61f576457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eb079864-1316-4258-b91e-82608095b8dc}" ma:internalName="TaxCatchAll" ma:showField="CatchAllData" ma:web="4a9bbce6-71c5-419b-9376-fc61f576457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534380-d675-4fb2-8d59-80938165a9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7699f302-2c19-4e45-9402-59f24fbee0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8534380-d675-4fb2-8d59-80938165a9e4">
      <Terms xmlns="http://schemas.microsoft.com/office/infopath/2007/PartnerControls"/>
    </lcf76f155ced4ddcb4097134ff3c332f>
    <TaxCatchAll xmlns="4a9bbce6-71c5-419b-9376-fc61f576457c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F5321F6-1A08-4C1B-897F-57B6F5E339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a9bbce6-71c5-419b-9376-fc61f576457c"/>
    <ds:schemaRef ds:uri="28534380-d675-4fb2-8d59-80938165a9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ED1A9C0-6C49-4FBB-8BF9-E526F1545E2A}">
  <ds:schemaRefs>
    <ds:schemaRef ds:uri="4a9bbce6-71c5-419b-9376-fc61f576457c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28534380-d675-4fb2-8d59-80938165a9e4"/>
    <ds:schemaRef ds:uri="http://schemas.microsoft.com/office/2006/documentManagement/types"/>
    <ds:schemaRef ds:uri="http://www.w3.org/XML/1998/namespace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370D07B3-ACA0-40E0-8384-6EEF6719D95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_Vorlage-Master</Template>
  <TotalTime>0</TotalTime>
  <Words>620</Words>
  <Application>Microsoft Office PowerPoint</Application>
  <PresentationFormat>Widescreen</PresentationFormat>
  <Paragraphs>116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rial</vt:lpstr>
      <vt:lpstr>Calibri</vt:lpstr>
      <vt:lpstr>Calibri Light</vt:lpstr>
      <vt:lpstr>Open Sans</vt:lpstr>
      <vt:lpstr>Wingdings</vt:lpstr>
      <vt:lpstr>Office</vt:lpstr>
      <vt:lpstr>adesso_Beispielseiten_16zu9</vt:lpstr>
      <vt:lpstr>1_adesso_Beispielseiten_16zu9</vt:lpstr>
      <vt:lpstr>ADESSO-2016</vt:lpstr>
      <vt:lpstr>think-cell Folie</vt:lpstr>
      <vt:lpstr>Kubernetes in der Hosentasche</vt:lpstr>
      <vt:lpstr>Was ist .NET Aspire?</vt:lpstr>
      <vt:lpstr>Erstellen verteilter Anwendungen für Azure</vt:lpstr>
      <vt:lpstr>Erstellen verteilter Anwendungen für Azure</vt:lpstr>
      <vt:lpstr>.NET Aspire to the rescue …</vt:lpstr>
      <vt:lpstr>.NET Aspire to the rescue …</vt:lpstr>
      <vt:lpstr>.NET Aspire to the rescue …</vt:lpstr>
      <vt:lpstr>.NET Aspire to the rescue …</vt:lpstr>
      <vt:lpstr>Neu in Aspire Version 9.4 …</vt:lpstr>
      <vt:lpstr>Demo</vt:lpstr>
      <vt:lpstr>Source Code …</vt:lpstr>
      <vt:lpstr>Vielen Dank für die Aufmerksamkei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ller, Frank</dc:creator>
  <cp:lastModifiedBy>Eller, Frank</cp:lastModifiedBy>
  <cp:revision>7</cp:revision>
  <dcterms:created xsi:type="dcterms:W3CDTF">2025-05-02T11:03:52Z</dcterms:created>
  <dcterms:modified xsi:type="dcterms:W3CDTF">2025-09-19T04:54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7E5D50EC3947644AE73B73662DBDAAC</vt:lpwstr>
  </property>
  <property fmtid="{D5CDD505-2E9C-101B-9397-08002B2CF9AE}" pid="3" name="MediaServiceImageTags">
    <vt:lpwstr/>
  </property>
</Properties>
</file>